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57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oleObject" Target="../embeddings/oleObject3.bin"/><Relationship Id="rId5" Type="http://schemas.openxmlformats.org/officeDocument/2006/relationships/tags" Target="../tags/tag8.xml"/><Relationship Id="rId10" Type="http://schemas.openxmlformats.org/officeDocument/2006/relationships/slideLayout" Target="../slideLayouts/slideLayout1.xml"/><Relationship Id="rId4" Type="http://schemas.openxmlformats.org/officeDocument/2006/relationships/tags" Target="../tags/tag7.xml"/><Relationship Id="rId9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2D074D-958C-38EF-25B4-5D21A9F434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2E83001-FDD4-37C3-7E90-59DDF37328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25" imgH="426" progId="TCLayout.ActiveDocument.1">
                  <p:embed/>
                </p:oleObj>
              </mc:Choice>
              <mc:Fallback>
                <p:oleObj name="think-cell Slide" r:id="rId11" imgW="425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2E83001-FDD4-37C3-7E90-59DDF37328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B7DB8A0-16D3-18EE-B502-CF432C722B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A01ACD7-B062-2EE3-1E25-1D82568CC0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8 header layout</a:t>
            </a:r>
          </a:p>
        </p:txBody>
      </p:sp>
      <p:sp>
        <p:nvSpPr>
          <p:cNvPr id="5" name="Shape1_20180316_070157">
            <a:extLst>
              <a:ext uri="{FF2B5EF4-FFF2-40B4-BE49-F238E27FC236}">
                <a16:creationId xmlns:a16="http://schemas.microsoft.com/office/drawing/2014/main" id="{9F98340E-4B89-628B-098D-25CFB38BE9D3}"/>
              </a:ext>
            </a:extLst>
          </p:cNvPr>
          <p:cNvSpPr/>
          <p:nvPr/>
        </p:nvSpPr>
        <p:spPr>
          <a:xfrm>
            <a:off x="4184047" y="1742942"/>
            <a:ext cx="3862876" cy="3862876"/>
          </a:xfrm>
          <a:prstGeom prst="star8">
            <a:avLst>
              <a:gd name="adj" fmla="val 28482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2B299677-7F7B-8D5E-784F-CDC67C318030}"/>
              </a:ext>
            </a:extLst>
          </p:cNvPr>
          <p:cNvSpPr txBox="1">
            <a:spLocks/>
          </p:cNvSpPr>
          <p:nvPr/>
        </p:nvSpPr>
        <p:spPr>
          <a:xfrm flipH="1">
            <a:off x="972458" y="4926141"/>
            <a:ext cx="2958615" cy="73299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6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accent2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71C7AEAE-E1F0-BA9C-4B26-DBE24BC1352F}"/>
              </a:ext>
            </a:extLst>
          </p:cNvPr>
          <p:cNvSpPr txBox="1">
            <a:spLocks/>
          </p:cNvSpPr>
          <p:nvPr/>
        </p:nvSpPr>
        <p:spPr>
          <a:xfrm flipH="1">
            <a:off x="8953218" y="3344255"/>
            <a:ext cx="2919469" cy="73299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3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accent2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8" name="Inhaltsplatzhalter 4">
            <a:extLst>
              <a:ext uri="{FF2B5EF4-FFF2-40B4-BE49-F238E27FC236}">
                <a16:creationId xmlns:a16="http://schemas.microsoft.com/office/drawing/2014/main" id="{F98D2F92-7C77-E3DB-E3B6-3858EA0201E5}"/>
              </a:ext>
            </a:extLst>
          </p:cNvPr>
          <p:cNvSpPr txBox="1">
            <a:spLocks/>
          </p:cNvSpPr>
          <p:nvPr/>
        </p:nvSpPr>
        <p:spPr>
          <a:xfrm>
            <a:off x="6603999" y="5653815"/>
            <a:ext cx="2900625" cy="73299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5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accent3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9" name="Inhaltsplatzhalter 4">
            <a:extLst>
              <a:ext uri="{FF2B5EF4-FFF2-40B4-BE49-F238E27FC236}">
                <a16:creationId xmlns:a16="http://schemas.microsoft.com/office/drawing/2014/main" id="{47A86ABC-40C2-FBE5-8CA8-27B9C4D11ED9}"/>
              </a:ext>
            </a:extLst>
          </p:cNvPr>
          <p:cNvSpPr txBox="1">
            <a:spLocks/>
          </p:cNvSpPr>
          <p:nvPr/>
        </p:nvSpPr>
        <p:spPr>
          <a:xfrm>
            <a:off x="8360227" y="4752139"/>
            <a:ext cx="2975226" cy="73299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4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accent2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17214E14-1E78-C997-969B-EFDD623B942A}"/>
              </a:ext>
            </a:extLst>
          </p:cNvPr>
          <p:cNvGrpSpPr/>
          <p:nvPr/>
        </p:nvGrpSpPr>
        <p:grpSpPr>
          <a:xfrm>
            <a:off x="4106770" y="4938095"/>
            <a:ext cx="636681" cy="636683"/>
            <a:chOff x="8083683" y="3356038"/>
            <a:chExt cx="636681" cy="636683"/>
          </a:xfrm>
        </p:grpSpPr>
        <p:sp>
          <p:nvSpPr>
            <p:cNvPr id="11" name="Shape8_20180316_070157">
              <a:extLst>
                <a:ext uri="{FF2B5EF4-FFF2-40B4-BE49-F238E27FC236}">
                  <a16:creationId xmlns:a16="http://schemas.microsoft.com/office/drawing/2014/main" id="{0007B820-450F-39C6-6E95-8DB578D8553C}"/>
                </a:ext>
              </a:extLst>
            </p:cNvPr>
            <p:cNvSpPr/>
            <p:nvPr/>
          </p:nvSpPr>
          <p:spPr>
            <a:xfrm>
              <a:off x="8083683" y="3356038"/>
              <a:ext cx="636681" cy="636683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dirty="0"/>
            </a:p>
          </p:txBody>
        </p:sp>
        <p:grpSp>
          <p:nvGrpSpPr>
            <p:cNvPr id="12" name="Shape0_20180316_070220">
              <a:extLst>
                <a:ext uri="{FF2B5EF4-FFF2-40B4-BE49-F238E27FC236}">
                  <a16:creationId xmlns:a16="http://schemas.microsoft.com/office/drawing/2014/main" id="{F5E3D18F-8754-AEAF-FB8F-7A5DB46F918F}"/>
                </a:ext>
              </a:extLst>
            </p:cNvPr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>
            <a:xfrm>
              <a:off x="8237892" y="3507753"/>
              <a:ext cx="333252" cy="333252"/>
              <a:chOff x="5712408" y="975680"/>
              <a:chExt cx="671729" cy="639391"/>
            </a:xfrm>
            <a:solidFill>
              <a:schemeClr val="bg1"/>
            </a:solidFill>
          </p:grpSpPr>
          <p:sp>
            <p:nvSpPr>
              <p:cNvPr id="13" name="Freeform 26">
                <a:extLst>
                  <a:ext uri="{FF2B5EF4-FFF2-40B4-BE49-F238E27FC236}">
                    <a16:creationId xmlns:a16="http://schemas.microsoft.com/office/drawing/2014/main" id="{FC954AAE-FD84-2171-1727-E111788AD4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12408" y="975680"/>
                <a:ext cx="671729" cy="639391"/>
              </a:xfrm>
              <a:custGeom>
                <a:avLst/>
                <a:gdLst>
                  <a:gd name="T0" fmla="*/ 117 w 128"/>
                  <a:gd name="T1" fmla="*/ 0 h 122"/>
                  <a:gd name="T2" fmla="*/ 11 w 128"/>
                  <a:gd name="T3" fmla="*/ 0 h 122"/>
                  <a:gd name="T4" fmla="*/ 0 w 128"/>
                  <a:gd name="T5" fmla="*/ 11 h 122"/>
                  <a:gd name="T6" fmla="*/ 0 w 128"/>
                  <a:gd name="T7" fmla="*/ 93 h 122"/>
                  <a:gd name="T8" fmla="*/ 11 w 128"/>
                  <a:gd name="T9" fmla="*/ 104 h 122"/>
                  <a:gd name="T10" fmla="*/ 43 w 128"/>
                  <a:gd name="T11" fmla="*/ 104 h 122"/>
                  <a:gd name="T12" fmla="*/ 38 w 128"/>
                  <a:gd name="T13" fmla="*/ 110 h 122"/>
                  <a:gd name="T14" fmla="*/ 35 w 128"/>
                  <a:gd name="T15" fmla="*/ 113 h 122"/>
                  <a:gd name="T16" fmla="*/ 34 w 128"/>
                  <a:gd name="T17" fmla="*/ 118 h 122"/>
                  <a:gd name="T18" fmla="*/ 42 w 128"/>
                  <a:gd name="T19" fmla="*/ 122 h 122"/>
                  <a:gd name="T20" fmla="*/ 86 w 128"/>
                  <a:gd name="T21" fmla="*/ 122 h 122"/>
                  <a:gd name="T22" fmla="*/ 94 w 128"/>
                  <a:gd name="T23" fmla="*/ 118 h 122"/>
                  <a:gd name="T24" fmla="*/ 94 w 128"/>
                  <a:gd name="T25" fmla="*/ 113 h 122"/>
                  <a:gd name="T26" fmla="*/ 91 w 128"/>
                  <a:gd name="T27" fmla="*/ 110 h 122"/>
                  <a:gd name="T28" fmla="*/ 85 w 128"/>
                  <a:gd name="T29" fmla="*/ 104 h 122"/>
                  <a:gd name="T30" fmla="*/ 117 w 128"/>
                  <a:gd name="T31" fmla="*/ 104 h 122"/>
                  <a:gd name="T32" fmla="*/ 128 w 128"/>
                  <a:gd name="T33" fmla="*/ 93 h 122"/>
                  <a:gd name="T34" fmla="*/ 128 w 128"/>
                  <a:gd name="T35" fmla="*/ 11 h 122"/>
                  <a:gd name="T36" fmla="*/ 117 w 128"/>
                  <a:gd name="T37" fmla="*/ 0 h 122"/>
                  <a:gd name="T38" fmla="*/ 88 w 128"/>
                  <a:gd name="T39" fmla="*/ 113 h 122"/>
                  <a:gd name="T40" fmla="*/ 90 w 128"/>
                  <a:gd name="T41" fmla="*/ 116 h 122"/>
                  <a:gd name="T42" fmla="*/ 90 w 128"/>
                  <a:gd name="T43" fmla="*/ 116 h 122"/>
                  <a:gd name="T44" fmla="*/ 86 w 128"/>
                  <a:gd name="T45" fmla="*/ 118 h 122"/>
                  <a:gd name="T46" fmla="*/ 42 w 128"/>
                  <a:gd name="T47" fmla="*/ 118 h 122"/>
                  <a:gd name="T48" fmla="*/ 38 w 128"/>
                  <a:gd name="T49" fmla="*/ 116 h 122"/>
                  <a:gd name="T50" fmla="*/ 38 w 128"/>
                  <a:gd name="T51" fmla="*/ 116 h 122"/>
                  <a:gd name="T52" fmla="*/ 38 w 128"/>
                  <a:gd name="T53" fmla="*/ 116 h 122"/>
                  <a:gd name="T54" fmla="*/ 40 w 128"/>
                  <a:gd name="T55" fmla="*/ 113 h 122"/>
                  <a:gd name="T56" fmla="*/ 48 w 128"/>
                  <a:gd name="T57" fmla="*/ 104 h 122"/>
                  <a:gd name="T58" fmla="*/ 80 w 128"/>
                  <a:gd name="T59" fmla="*/ 104 h 122"/>
                  <a:gd name="T60" fmla="*/ 88 w 128"/>
                  <a:gd name="T61" fmla="*/ 113 h 122"/>
                  <a:gd name="T62" fmla="*/ 120 w 128"/>
                  <a:gd name="T63" fmla="*/ 93 h 122"/>
                  <a:gd name="T64" fmla="*/ 117 w 128"/>
                  <a:gd name="T65" fmla="*/ 96 h 122"/>
                  <a:gd name="T66" fmla="*/ 11 w 128"/>
                  <a:gd name="T67" fmla="*/ 96 h 122"/>
                  <a:gd name="T68" fmla="*/ 8 w 128"/>
                  <a:gd name="T69" fmla="*/ 93 h 122"/>
                  <a:gd name="T70" fmla="*/ 8 w 128"/>
                  <a:gd name="T71" fmla="*/ 11 h 122"/>
                  <a:gd name="T72" fmla="*/ 11 w 128"/>
                  <a:gd name="T73" fmla="*/ 8 h 122"/>
                  <a:gd name="T74" fmla="*/ 117 w 128"/>
                  <a:gd name="T75" fmla="*/ 8 h 122"/>
                  <a:gd name="T76" fmla="*/ 120 w 128"/>
                  <a:gd name="T77" fmla="*/ 11 h 122"/>
                  <a:gd name="T78" fmla="*/ 120 w 128"/>
                  <a:gd name="T79" fmla="*/ 93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28" h="122">
                    <a:moveTo>
                      <a:pt x="117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93"/>
                      <a:pt x="0" y="93"/>
                      <a:pt x="0" y="93"/>
                    </a:cubicBezTo>
                    <a:cubicBezTo>
                      <a:pt x="0" y="99"/>
                      <a:pt x="5" y="104"/>
                      <a:pt x="11" y="104"/>
                    </a:cubicBezTo>
                    <a:cubicBezTo>
                      <a:pt x="43" y="104"/>
                      <a:pt x="43" y="104"/>
                      <a:pt x="43" y="104"/>
                    </a:cubicBezTo>
                    <a:cubicBezTo>
                      <a:pt x="42" y="106"/>
                      <a:pt x="39" y="109"/>
                      <a:pt x="38" y="110"/>
                    </a:cubicBezTo>
                    <a:cubicBezTo>
                      <a:pt x="36" y="111"/>
                      <a:pt x="35" y="112"/>
                      <a:pt x="35" y="113"/>
                    </a:cubicBezTo>
                    <a:cubicBezTo>
                      <a:pt x="34" y="114"/>
                      <a:pt x="33" y="116"/>
                      <a:pt x="34" y="118"/>
                    </a:cubicBezTo>
                    <a:cubicBezTo>
                      <a:pt x="35" y="120"/>
                      <a:pt x="37" y="122"/>
                      <a:pt x="42" y="122"/>
                    </a:cubicBezTo>
                    <a:cubicBezTo>
                      <a:pt x="86" y="122"/>
                      <a:pt x="86" y="122"/>
                      <a:pt x="86" y="122"/>
                    </a:cubicBezTo>
                    <a:cubicBezTo>
                      <a:pt x="91" y="122"/>
                      <a:pt x="93" y="120"/>
                      <a:pt x="94" y="118"/>
                    </a:cubicBezTo>
                    <a:cubicBezTo>
                      <a:pt x="95" y="116"/>
                      <a:pt x="95" y="114"/>
                      <a:pt x="94" y="113"/>
                    </a:cubicBezTo>
                    <a:cubicBezTo>
                      <a:pt x="93" y="112"/>
                      <a:pt x="92" y="111"/>
                      <a:pt x="91" y="110"/>
                    </a:cubicBezTo>
                    <a:cubicBezTo>
                      <a:pt x="89" y="109"/>
                      <a:pt x="87" y="106"/>
                      <a:pt x="85" y="104"/>
                    </a:cubicBezTo>
                    <a:cubicBezTo>
                      <a:pt x="117" y="104"/>
                      <a:pt x="117" y="104"/>
                      <a:pt x="117" y="104"/>
                    </a:cubicBezTo>
                    <a:cubicBezTo>
                      <a:pt x="123" y="104"/>
                      <a:pt x="128" y="99"/>
                      <a:pt x="128" y="93"/>
                    </a:cubicBezTo>
                    <a:cubicBezTo>
                      <a:pt x="128" y="11"/>
                      <a:pt x="128" y="11"/>
                      <a:pt x="128" y="11"/>
                    </a:cubicBezTo>
                    <a:cubicBezTo>
                      <a:pt x="128" y="5"/>
                      <a:pt x="123" y="0"/>
                      <a:pt x="117" y="0"/>
                    </a:cubicBezTo>
                    <a:close/>
                    <a:moveTo>
                      <a:pt x="88" y="113"/>
                    </a:moveTo>
                    <a:cubicBezTo>
                      <a:pt x="89" y="114"/>
                      <a:pt x="90" y="115"/>
                      <a:pt x="90" y="116"/>
                    </a:cubicBezTo>
                    <a:cubicBezTo>
                      <a:pt x="90" y="116"/>
                      <a:pt x="91" y="116"/>
                      <a:pt x="90" y="116"/>
                    </a:cubicBezTo>
                    <a:cubicBezTo>
                      <a:pt x="90" y="117"/>
                      <a:pt x="88" y="118"/>
                      <a:pt x="86" y="118"/>
                    </a:cubicBezTo>
                    <a:cubicBezTo>
                      <a:pt x="42" y="118"/>
                      <a:pt x="42" y="118"/>
                      <a:pt x="42" y="118"/>
                    </a:cubicBezTo>
                    <a:cubicBezTo>
                      <a:pt x="40" y="118"/>
                      <a:pt x="38" y="117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5"/>
                      <a:pt x="39" y="114"/>
                      <a:pt x="40" y="113"/>
                    </a:cubicBezTo>
                    <a:cubicBezTo>
                      <a:pt x="44" y="109"/>
                      <a:pt x="47" y="106"/>
                      <a:pt x="48" y="104"/>
                    </a:cubicBezTo>
                    <a:cubicBezTo>
                      <a:pt x="80" y="104"/>
                      <a:pt x="80" y="104"/>
                      <a:pt x="80" y="104"/>
                    </a:cubicBezTo>
                    <a:cubicBezTo>
                      <a:pt x="82" y="106"/>
                      <a:pt x="84" y="109"/>
                      <a:pt x="88" y="113"/>
                    </a:cubicBezTo>
                    <a:close/>
                    <a:moveTo>
                      <a:pt x="120" y="93"/>
                    </a:moveTo>
                    <a:cubicBezTo>
                      <a:pt x="120" y="95"/>
                      <a:pt x="119" y="96"/>
                      <a:pt x="117" y="96"/>
                    </a:cubicBezTo>
                    <a:cubicBezTo>
                      <a:pt x="11" y="96"/>
                      <a:pt x="11" y="96"/>
                      <a:pt x="11" y="96"/>
                    </a:cubicBezTo>
                    <a:cubicBezTo>
                      <a:pt x="9" y="96"/>
                      <a:pt x="8" y="95"/>
                      <a:pt x="8" y="93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9"/>
                      <a:pt x="9" y="8"/>
                      <a:pt x="11" y="8"/>
                    </a:cubicBezTo>
                    <a:cubicBezTo>
                      <a:pt x="117" y="8"/>
                      <a:pt x="117" y="8"/>
                      <a:pt x="117" y="8"/>
                    </a:cubicBezTo>
                    <a:cubicBezTo>
                      <a:pt x="119" y="8"/>
                      <a:pt x="120" y="9"/>
                      <a:pt x="120" y="11"/>
                    </a:cubicBezTo>
                    <a:lnTo>
                      <a:pt x="120" y="9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dirty="0">
                  <a:solidFill>
                    <a:schemeClr val="bg1"/>
                  </a:solidFill>
                  <a:latin typeface="Lato Light"/>
                </a:endParaRPr>
              </a:p>
            </p:txBody>
          </p:sp>
          <p:sp>
            <p:nvSpPr>
              <p:cNvPr id="14" name="Freeform 27">
                <a:extLst>
                  <a:ext uri="{FF2B5EF4-FFF2-40B4-BE49-F238E27FC236}">
                    <a16:creationId xmlns:a16="http://schemas.microsoft.com/office/drawing/2014/main" id="{7FF9F533-0E7C-8142-240B-AEDAE69FD5A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917" y="1058042"/>
                <a:ext cx="502713" cy="338119"/>
              </a:xfrm>
              <a:custGeom>
                <a:avLst/>
                <a:gdLst>
                  <a:gd name="T0" fmla="*/ 89 w 96"/>
                  <a:gd name="T1" fmla="*/ 0 h 64"/>
                  <a:gd name="T2" fmla="*/ 7 w 96"/>
                  <a:gd name="T3" fmla="*/ 0 h 64"/>
                  <a:gd name="T4" fmla="*/ 0 w 96"/>
                  <a:gd name="T5" fmla="*/ 7 h 64"/>
                  <a:gd name="T6" fmla="*/ 0 w 96"/>
                  <a:gd name="T7" fmla="*/ 57 h 64"/>
                  <a:gd name="T8" fmla="*/ 7 w 96"/>
                  <a:gd name="T9" fmla="*/ 64 h 64"/>
                  <a:gd name="T10" fmla="*/ 89 w 96"/>
                  <a:gd name="T11" fmla="*/ 64 h 64"/>
                  <a:gd name="T12" fmla="*/ 96 w 96"/>
                  <a:gd name="T13" fmla="*/ 57 h 64"/>
                  <a:gd name="T14" fmla="*/ 96 w 96"/>
                  <a:gd name="T15" fmla="*/ 7 h 64"/>
                  <a:gd name="T16" fmla="*/ 89 w 96"/>
                  <a:gd name="T17" fmla="*/ 0 h 64"/>
                  <a:gd name="T18" fmla="*/ 92 w 96"/>
                  <a:gd name="T19" fmla="*/ 57 h 64"/>
                  <a:gd name="T20" fmla="*/ 89 w 96"/>
                  <a:gd name="T21" fmla="*/ 60 h 64"/>
                  <a:gd name="T22" fmla="*/ 7 w 96"/>
                  <a:gd name="T23" fmla="*/ 60 h 64"/>
                  <a:gd name="T24" fmla="*/ 4 w 96"/>
                  <a:gd name="T25" fmla="*/ 57 h 64"/>
                  <a:gd name="T26" fmla="*/ 4 w 96"/>
                  <a:gd name="T27" fmla="*/ 7 h 64"/>
                  <a:gd name="T28" fmla="*/ 7 w 96"/>
                  <a:gd name="T29" fmla="*/ 4 h 64"/>
                  <a:gd name="T30" fmla="*/ 89 w 96"/>
                  <a:gd name="T31" fmla="*/ 4 h 64"/>
                  <a:gd name="T32" fmla="*/ 92 w 96"/>
                  <a:gd name="T33" fmla="*/ 7 h 64"/>
                  <a:gd name="T34" fmla="*/ 92 w 96"/>
                  <a:gd name="T35" fmla="*/ 57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6" h="64">
                    <a:moveTo>
                      <a:pt x="89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0" y="61"/>
                      <a:pt x="3" y="64"/>
                      <a:pt x="7" y="64"/>
                    </a:cubicBezTo>
                    <a:cubicBezTo>
                      <a:pt x="89" y="64"/>
                      <a:pt x="89" y="64"/>
                      <a:pt x="89" y="64"/>
                    </a:cubicBezTo>
                    <a:cubicBezTo>
                      <a:pt x="93" y="64"/>
                      <a:pt x="96" y="61"/>
                      <a:pt x="96" y="57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96" y="3"/>
                      <a:pt x="93" y="0"/>
                      <a:pt x="89" y="0"/>
                    </a:cubicBezTo>
                    <a:close/>
                    <a:moveTo>
                      <a:pt x="92" y="57"/>
                    </a:moveTo>
                    <a:cubicBezTo>
                      <a:pt x="92" y="59"/>
                      <a:pt x="91" y="60"/>
                      <a:pt x="89" y="60"/>
                    </a:cubicBezTo>
                    <a:cubicBezTo>
                      <a:pt x="7" y="60"/>
                      <a:pt x="7" y="60"/>
                      <a:pt x="7" y="60"/>
                    </a:cubicBezTo>
                    <a:cubicBezTo>
                      <a:pt x="5" y="60"/>
                      <a:pt x="4" y="59"/>
                      <a:pt x="4" y="5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5"/>
                      <a:pt x="5" y="4"/>
                      <a:pt x="7" y="4"/>
                    </a:cubicBezTo>
                    <a:cubicBezTo>
                      <a:pt x="89" y="4"/>
                      <a:pt x="89" y="4"/>
                      <a:pt x="89" y="4"/>
                    </a:cubicBezTo>
                    <a:cubicBezTo>
                      <a:pt x="91" y="4"/>
                      <a:pt x="92" y="5"/>
                      <a:pt x="92" y="7"/>
                    </a:cubicBezTo>
                    <a:lnTo>
                      <a:pt x="92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dirty="0">
                  <a:solidFill>
                    <a:schemeClr val="bg1"/>
                  </a:solidFill>
                  <a:latin typeface="Lato Light"/>
                </a:endParaRPr>
              </a:p>
            </p:txBody>
          </p:sp>
          <p:sp>
            <p:nvSpPr>
              <p:cNvPr id="15" name="Freeform 28">
                <a:extLst>
                  <a:ext uri="{FF2B5EF4-FFF2-40B4-BE49-F238E27FC236}">
                    <a16:creationId xmlns:a16="http://schemas.microsoft.com/office/drawing/2014/main" id="{19D145B9-9B3D-8746-1FCF-AB6A6A0D76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17937" y="1404831"/>
                <a:ext cx="62840" cy="65023"/>
              </a:xfrm>
              <a:custGeom>
                <a:avLst/>
                <a:gdLst>
                  <a:gd name="T0" fmla="*/ 6 w 12"/>
                  <a:gd name="T1" fmla="*/ 0 h 12"/>
                  <a:gd name="T2" fmla="*/ 0 w 12"/>
                  <a:gd name="T3" fmla="*/ 6 h 12"/>
                  <a:gd name="T4" fmla="*/ 6 w 12"/>
                  <a:gd name="T5" fmla="*/ 12 h 12"/>
                  <a:gd name="T6" fmla="*/ 12 w 12"/>
                  <a:gd name="T7" fmla="*/ 6 h 12"/>
                  <a:gd name="T8" fmla="*/ 6 w 12"/>
                  <a:gd name="T9" fmla="*/ 0 h 12"/>
                  <a:gd name="T10" fmla="*/ 6 w 12"/>
                  <a:gd name="T11" fmla="*/ 8 h 12"/>
                  <a:gd name="T12" fmla="*/ 4 w 12"/>
                  <a:gd name="T13" fmla="*/ 6 h 12"/>
                  <a:gd name="T14" fmla="*/ 6 w 12"/>
                  <a:gd name="T15" fmla="*/ 4 h 12"/>
                  <a:gd name="T16" fmla="*/ 8 w 12"/>
                  <a:gd name="T17" fmla="*/ 6 h 12"/>
                  <a:gd name="T18" fmla="*/ 6 w 12"/>
                  <a:gd name="T19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cubicBezTo>
                      <a:pt x="3" y="0"/>
                      <a:pt x="0" y="3"/>
                      <a:pt x="0" y="6"/>
                    </a:cubicBezTo>
                    <a:cubicBezTo>
                      <a:pt x="0" y="9"/>
                      <a:pt x="3" y="12"/>
                      <a:pt x="6" y="12"/>
                    </a:cubicBezTo>
                    <a:cubicBezTo>
                      <a:pt x="9" y="12"/>
                      <a:pt x="12" y="9"/>
                      <a:pt x="12" y="6"/>
                    </a:cubicBezTo>
                    <a:cubicBezTo>
                      <a:pt x="12" y="3"/>
                      <a:pt x="9" y="0"/>
                      <a:pt x="6" y="0"/>
                    </a:cubicBezTo>
                    <a:close/>
                    <a:moveTo>
                      <a:pt x="6" y="8"/>
                    </a:moveTo>
                    <a:cubicBezTo>
                      <a:pt x="5" y="8"/>
                      <a:pt x="4" y="7"/>
                      <a:pt x="4" y="6"/>
                    </a:cubicBezTo>
                    <a:cubicBezTo>
                      <a:pt x="4" y="5"/>
                      <a:pt x="5" y="4"/>
                      <a:pt x="6" y="4"/>
                    </a:cubicBezTo>
                    <a:cubicBezTo>
                      <a:pt x="7" y="4"/>
                      <a:pt x="8" y="5"/>
                      <a:pt x="8" y="6"/>
                    </a:cubicBezTo>
                    <a:cubicBezTo>
                      <a:pt x="8" y="7"/>
                      <a:pt x="7" y="8"/>
                      <a:pt x="6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dirty="0">
                  <a:solidFill>
                    <a:schemeClr val="bg1"/>
                  </a:solidFill>
                  <a:latin typeface="Lato Light"/>
                </a:endParaRPr>
              </a:p>
            </p:txBody>
          </p:sp>
          <p:sp>
            <p:nvSpPr>
              <p:cNvPr id="16" name="Freeform 29">
                <a:extLst>
                  <a:ext uri="{FF2B5EF4-FFF2-40B4-BE49-F238E27FC236}">
                    <a16:creationId xmlns:a16="http://schemas.microsoft.com/office/drawing/2014/main" id="{45475655-20AE-7916-AB1B-EFCD9DE639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33429" y="1190255"/>
                <a:ext cx="84509" cy="88864"/>
              </a:xfrm>
              <a:custGeom>
                <a:avLst/>
                <a:gdLst>
                  <a:gd name="T0" fmla="*/ 0 w 39"/>
                  <a:gd name="T1" fmla="*/ 24 h 41"/>
                  <a:gd name="T2" fmla="*/ 39 w 39"/>
                  <a:gd name="T3" fmla="*/ 41 h 41"/>
                  <a:gd name="T4" fmla="*/ 39 w 39"/>
                  <a:gd name="T5" fmla="*/ 32 h 41"/>
                  <a:gd name="T6" fmla="*/ 12 w 39"/>
                  <a:gd name="T7" fmla="*/ 19 h 41"/>
                  <a:gd name="T8" fmla="*/ 39 w 39"/>
                  <a:gd name="T9" fmla="*/ 10 h 41"/>
                  <a:gd name="T10" fmla="*/ 39 w 39"/>
                  <a:gd name="T11" fmla="*/ 0 h 41"/>
                  <a:gd name="T12" fmla="*/ 0 w 39"/>
                  <a:gd name="T13" fmla="*/ 17 h 41"/>
                  <a:gd name="T14" fmla="*/ 0 w 39"/>
                  <a:gd name="T15" fmla="*/ 24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" h="41">
                    <a:moveTo>
                      <a:pt x="0" y="24"/>
                    </a:moveTo>
                    <a:lnTo>
                      <a:pt x="39" y="41"/>
                    </a:lnTo>
                    <a:lnTo>
                      <a:pt x="39" y="32"/>
                    </a:lnTo>
                    <a:lnTo>
                      <a:pt x="12" y="19"/>
                    </a:lnTo>
                    <a:lnTo>
                      <a:pt x="39" y="10"/>
                    </a:lnTo>
                    <a:lnTo>
                      <a:pt x="39" y="0"/>
                    </a:lnTo>
                    <a:lnTo>
                      <a:pt x="0" y="17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dirty="0">
                  <a:solidFill>
                    <a:schemeClr val="bg1"/>
                  </a:solidFill>
                  <a:latin typeface="Lato Light"/>
                </a:endParaRPr>
              </a:p>
            </p:txBody>
          </p:sp>
          <p:sp>
            <p:nvSpPr>
              <p:cNvPr id="17" name="Freeform 30">
                <a:extLst>
                  <a:ext uri="{FF2B5EF4-FFF2-40B4-BE49-F238E27FC236}">
                    <a16:creationId xmlns:a16="http://schemas.microsoft.com/office/drawing/2014/main" id="{081A0DB2-51BA-68C4-E61D-F807CCB278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26605" y="1175084"/>
                <a:ext cx="43337" cy="119208"/>
              </a:xfrm>
              <a:custGeom>
                <a:avLst/>
                <a:gdLst>
                  <a:gd name="T0" fmla="*/ 7 w 8"/>
                  <a:gd name="T1" fmla="*/ 0 h 23"/>
                  <a:gd name="T2" fmla="*/ 5 w 8"/>
                  <a:gd name="T3" fmla="*/ 0 h 23"/>
                  <a:gd name="T4" fmla="*/ 5 w 8"/>
                  <a:gd name="T5" fmla="*/ 2 h 23"/>
                  <a:gd name="T6" fmla="*/ 0 w 8"/>
                  <a:gd name="T7" fmla="*/ 20 h 23"/>
                  <a:gd name="T8" fmla="*/ 0 w 8"/>
                  <a:gd name="T9" fmla="*/ 22 h 23"/>
                  <a:gd name="T10" fmla="*/ 2 w 8"/>
                  <a:gd name="T11" fmla="*/ 23 h 23"/>
                  <a:gd name="T12" fmla="*/ 3 w 8"/>
                  <a:gd name="T13" fmla="*/ 23 h 23"/>
                  <a:gd name="T14" fmla="*/ 3 w 8"/>
                  <a:gd name="T15" fmla="*/ 22 h 23"/>
                  <a:gd name="T16" fmla="*/ 4 w 8"/>
                  <a:gd name="T17" fmla="*/ 21 h 23"/>
                  <a:gd name="T18" fmla="*/ 8 w 8"/>
                  <a:gd name="T19" fmla="*/ 3 h 23"/>
                  <a:gd name="T20" fmla="*/ 8 w 8"/>
                  <a:gd name="T21" fmla="*/ 1 h 23"/>
                  <a:gd name="T22" fmla="*/ 8 w 8"/>
                  <a:gd name="T23" fmla="*/ 0 h 23"/>
                  <a:gd name="T24" fmla="*/ 7 w 8"/>
                  <a:gd name="T2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" h="23">
                    <a:moveTo>
                      <a:pt x="7" y="0"/>
                    </a:moveTo>
                    <a:cubicBezTo>
                      <a:pt x="6" y="0"/>
                      <a:pt x="6" y="0"/>
                      <a:pt x="5" y="0"/>
                    </a:cubicBezTo>
                    <a:cubicBezTo>
                      <a:pt x="5" y="0"/>
                      <a:pt x="5" y="1"/>
                      <a:pt x="5" y="2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0" y="22"/>
                      <a:pt x="0" y="22"/>
                    </a:cubicBezTo>
                    <a:cubicBezTo>
                      <a:pt x="0" y="23"/>
                      <a:pt x="1" y="23"/>
                      <a:pt x="2" y="23"/>
                    </a:cubicBezTo>
                    <a:cubicBezTo>
                      <a:pt x="2" y="23"/>
                      <a:pt x="2" y="23"/>
                      <a:pt x="3" y="23"/>
                    </a:cubicBezTo>
                    <a:cubicBezTo>
                      <a:pt x="3" y="23"/>
                      <a:pt x="3" y="22"/>
                      <a:pt x="3" y="22"/>
                    </a:cubicBezTo>
                    <a:cubicBezTo>
                      <a:pt x="3" y="22"/>
                      <a:pt x="3" y="21"/>
                      <a:pt x="4" y="21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2"/>
                      <a:pt x="8" y="1"/>
                      <a:pt x="8" y="1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7" y="0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dirty="0">
                  <a:solidFill>
                    <a:schemeClr val="bg1"/>
                  </a:solidFill>
                  <a:latin typeface="Lato Light"/>
                </a:endParaRPr>
              </a:p>
            </p:txBody>
          </p:sp>
          <p:sp>
            <p:nvSpPr>
              <p:cNvPr id="18" name="Freeform 31">
                <a:extLst>
                  <a:ext uri="{FF2B5EF4-FFF2-40B4-BE49-F238E27FC236}">
                    <a16:creationId xmlns:a16="http://schemas.microsoft.com/office/drawing/2014/main" id="{BAF13B55-762A-5EF6-134E-1BCAA9AD75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0776" y="1190255"/>
                <a:ext cx="82341" cy="88864"/>
              </a:xfrm>
              <a:custGeom>
                <a:avLst/>
                <a:gdLst>
                  <a:gd name="T0" fmla="*/ 0 w 38"/>
                  <a:gd name="T1" fmla="*/ 10 h 41"/>
                  <a:gd name="T2" fmla="*/ 26 w 38"/>
                  <a:gd name="T3" fmla="*/ 19 h 41"/>
                  <a:gd name="T4" fmla="*/ 0 w 38"/>
                  <a:gd name="T5" fmla="*/ 32 h 41"/>
                  <a:gd name="T6" fmla="*/ 0 w 38"/>
                  <a:gd name="T7" fmla="*/ 41 h 41"/>
                  <a:gd name="T8" fmla="*/ 38 w 38"/>
                  <a:gd name="T9" fmla="*/ 24 h 41"/>
                  <a:gd name="T10" fmla="*/ 38 w 38"/>
                  <a:gd name="T11" fmla="*/ 17 h 41"/>
                  <a:gd name="T12" fmla="*/ 0 w 38"/>
                  <a:gd name="T13" fmla="*/ 0 h 41"/>
                  <a:gd name="T14" fmla="*/ 0 w 38"/>
                  <a:gd name="T15" fmla="*/ 1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8" h="41">
                    <a:moveTo>
                      <a:pt x="0" y="10"/>
                    </a:moveTo>
                    <a:lnTo>
                      <a:pt x="26" y="19"/>
                    </a:lnTo>
                    <a:lnTo>
                      <a:pt x="0" y="32"/>
                    </a:lnTo>
                    <a:lnTo>
                      <a:pt x="0" y="41"/>
                    </a:lnTo>
                    <a:lnTo>
                      <a:pt x="38" y="24"/>
                    </a:lnTo>
                    <a:lnTo>
                      <a:pt x="38" y="17"/>
                    </a:lnTo>
                    <a:lnTo>
                      <a:pt x="0" y="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dirty="0">
                  <a:solidFill>
                    <a:schemeClr val="bg1"/>
                  </a:solidFill>
                  <a:latin typeface="Lato Light"/>
                </a:endParaRPr>
              </a:p>
            </p:txBody>
          </p:sp>
        </p:grp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859DE7F0-CE05-4E4B-439A-7EB5E984229C}"/>
              </a:ext>
            </a:extLst>
          </p:cNvPr>
          <p:cNvGrpSpPr/>
          <p:nvPr/>
        </p:nvGrpSpPr>
        <p:grpSpPr>
          <a:xfrm>
            <a:off x="8202112" y="3399646"/>
            <a:ext cx="636681" cy="636683"/>
            <a:chOff x="5807255" y="5605817"/>
            <a:chExt cx="636681" cy="636683"/>
          </a:xfrm>
        </p:grpSpPr>
        <p:sp>
          <p:nvSpPr>
            <p:cNvPr id="20" name="Shape1_20180316_070220">
              <a:extLst>
                <a:ext uri="{FF2B5EF4-FFF2-40B4-BE49-F238E27FC236}">
                  <a16:creationId xmlns:a16="http://schemas.microsoft.com/office/drawing/2014/main" id="{586A6DE7-796B-FDC8-43E6-FD1A4BF2FB2F}"/>
                </a:ext>
              </a:extLst>
            </p:cNvPr>
            <p:cNvSpPr/>
            <p:nvPr/>
          </p:nvSpPr>
          <p:spPr>
            <a:xfrm>
              <a:off x="5807255" y="5605817"/>
              <a:ext cx="636681" cy="636683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dirty="0"/>
            </a:p>
          </p:txBody>
        </p:sp>
        <p:sp>
          <p:nvSpPr>
            <p:cNvPr id="21" name="Shape2_20180316_070220">
              <a:extLst>
                <a:ext uri="{FF2B5EF4-FFF2-40B4-BE49-F238E27FC236}">
                  <a16:creationId xmlns:a16="http://schemas.microsoft.com/office/drawing/2014/main" id="{83EE33F5-7860-49B8-B4FE-86F56236FB88}"/>
                </a:ext>
              </a:extLst>
            </p:cNvPr>
            <p:cNvSpPr>
              <a:spLocks noChangeAspect="1" noEditPoints="1"/>
            </p:cNvSpPr>
            <p:nvPr>
              <p:custDataLst>
                <p:tags r:id="rId8"/>
              </p:custDataLst>
            </p:nvPr>
          </p:nvSpPr>
          <p:spPr bwMode="auto">
            <a:xfrm>
              <a:off x="5958969" y="5764089"/>
              <a:ext cx="333252" cy="333252"/>
            </a:xfrm>
            <a:custGeom>
              <a:avLst/>
              <a:gdLst>
                <a:gd name="T0" fmla="*/ 232 w 256"/>
                <a:gd name="T1" fmla="*/ 84 h 227"/>
                <a:gd name="T2" fmla="*/ 172 w 256"/>
                <a:gd name="T3" fmla="*/ 44 h 227"/>
                <a:gd name="T4" fmla="*/ 120 w 256"/>
                <a:gd name="T5" fmla="*/ 48 h 227"/>
                <a:gd name="T6" fmla="*/ 64 w 256"/>
                <a:gd name="T7" fmla="*/ 107 h 227"/>
                <a:gd name="T8" fmla="*/ 0 w 256"/>
                <a:gd name="T9" fmla="*/ 131 h 227"/>
                <a:gd name="T10" fmla="*/ 32 w 256"/>
                <a:gd name="T11" fmla="*/ 227 h 227"/>
                <a:gd name="T12" fmla="*/ 87 w 256"/>
                <a:gd name="T13" fmla="*/ 212 h 227"/>
                <a:gd name="T14" fmla="*/ 103 w 256"/>
                <a:gd name="T15" fmla="*/ 219 h 227"/>
                <a:gd name="T16" fmla="*/ 232 w 256"/>
                <a:gd name="T17" fmla="*/ 197 h 227"/>
                <a:gd name="T18" fmla="*/ 240 w 256"/>
                <a:gd name="T19" fmla="*/ 169 h 227"/>
                <a:gd name="T20" fmla="*/ 248 w 256"/>
                <a:gd name="T21" fmla="*/ 140 h 227"/>
                <a:gd name="T22" fmla="*/ 256 w 256"/>
                <a:gd name="T23" fmla="*/ 108 h 227"/>
                <a:gd name="T24" fmla="*/ 32 w 256"/>
                <a:gd name="T25" fmla="*/ 211 h 227"/>
                <a:gd name="T26" fmla="*/ 16 w 256"/>
                <a:gd name="T27" fmla="*/ 131 h 227"/>
                <a:gd name="T28" fmla="*/ 64 w 256"/>
                <a:gd name="T29" fmla="*/ 123 h 227"/>
                <a:gd name="T30" fmla="*/ 72 w 256"/>
                <a:gd name="T31" fmla="*/ 198 h 227"/>
                <a:gd name="T32" fmla="*/ 72 w 256"/>
                <a:gd name="T33" fmla="*/ 203 h 227"/>
                <a:gd name="T34" fmla="*/ 210 w 256"/>
                <a:gd name="T35" fmla="*/ 203 h 227"/>
                <a:gd name="T36" fmla="*/ 88 w 256"/>
                <a:gd name="T37" fmla="*/ 194 h 227"/>
                <a:gd name="T38" fmla="*/ 86 w 256"/>
                <a:gd name="T39" fmla="*/ 121 h 227"/>
                <a:gd name="T40" fmla="*/ 140 w 256"/>
                <a:gd name="T41" fmla="*/ 16 h 227"/>
                <a:gd name="T42" fmla="*/ 152 w 256"/>
                <a:gd name="T43" fmla="*/ 90 h 227"/>
                <a:gd name="T44" fmla="*/ 160 w 256"/>
                <a:gd name="T45" fmla="*/ 100 h 227"/>
                <a:gd name="T46" fmla="*/ 240 w 256"/>
                <a:gd name="T47" fmla="*/ 108 h 227"/>
                <a:gd name="T48" fmla="*/ 223 w 256"/>
                <a:gd name="T49" fmla="*/ 116 h 227"/>
                <a:gd name="T50" fmla="*/ 223 w 256"/>
                <a:gd name="T51" fmla="*/ 132 h 227"/>
                <a:gd name="T52" fmla="*/ 224 w 256"/>
                <a:gd name="T53" fmla="*/ 132 h 227"/>
                <a:gd name="T54" fmla="*/ 224 w 256"/>
                <a:gd name="T55" fmla="*/ 148 h 227"/>
                <a:gd name="T56" fmla="*/ 218 w 256"/>
                <a:gd name="T57" fmla="*/ 147 h 227"/>
                <a:gd name="T58" fmla="*/ 215 w 256"/>
                <a:gd name="T59" fmla="*/ 148 h 227"/>
                <a:gd name="T60" fmla="*/ 215 w 256"/>
                <a:gd name="T61" fmla="*/ 164 h 227"/>
                <a:gd name="T62" fmla="*/ 224 w 256"/>
                <a:gd name="T63" fmla="*/ 169 h 227"/>
                <a:gd name="T64" fmla="*/ 210 w 256"/>
                <a:gd name="T65" fmla="*/ 175 h 227"/>
                <a:gd name="T66" fmla="*/ 210 w 256"/>
                <a:gd name="T67" fmla="*/ 175 h 227"/>
                <a:gd name="T68" fmla="*/ 210 w 256"/>
                <a:gd name="T69" fmla="*/ 191 h 227"/>
                <a:gd name="T70" fmla="*/ 210 w 256"/>
                <a:gd name="T71" fmla="*/ 203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6" h="227">
                  <a:moveTo>
                    <a:pt x="256" y="108"/>
                  </a:moveTo>
                  <a:cubicBezTo>
                    <a:pt x="256" y="94"/>
                    <a:pt x="245" y="84"/>
                    <a:pt x="232" y="84"/>
                  </a:cubicBezTo>
                  <a:cubicBezTo>
                    <a:pt x="169" y="84"/>
                    <a:pt x="169" y="84"/>
                    <a:pt x="169" y="84"/>
                  </a:cubicBezTo>
                  <a:cubicBezTo>
                    <a:pt x="171" y="74"/>
                    <a:pt x="172" y="59"/>
                    <a:pt x="172" y="44"/>
                  </a:cubicBezTo>
                  <a:cubicBezTo>
                    <a:pt x="172" y="13"/>
                    <a:pt x="156" y="0"/>
                    <a:pt x="140" y="0"/>
                  </a:cubicBezTo>
                  <a:cubicBezTo>
                    <a:pt x="120" y="0"/>
                    <a:pt x="120" y="21"/>
                    <a:pt x="120" y="48"/>
                  </a:cubicBezTo>
                  <a:cubicBezTo>
                    <a:pt x="120" y="67"/>
                    <a:pt x="90" y="97"/>
                    <a:pt x="75" y="110"/>
                  </a:cubicBezTo>
                  <a:cubicBezTo>
                    <a:pt x="71" y="108"/>
                    <a:pt x="68" y="107"/>
                    <a:pt x="64" y="107"/>
                  </a:cubicBezTo>
                  <a:cubicBezTo>
                    <a:pt x="24" y="107"/>
                    <a:pt x="24" y="107"/>
                    <a:pt x="24" y="107"/>
                  </a:cubicBezTo>
                  <a:cubicBezTo>
                    <a:pt x="11" y="107"/>
                    <a:pt x="0" y="118"/>
                    <a:pt x="0" y="131"/>
                  </a:cubicBezTo>
                  <a:cubicBezTo>
                    <a:pt x="8" y="203"/>
                    <a:pt x="8" y="203"/>
                    <a:pt x="8" y="203"/>
                  </a:cubicBezTo>
                  <a:cubicBezTo>
                    <a:pt x="10" y="216"/>
                    <a:pt x="19" y="227"/>
                    <a:pt x="32" y="227"/>
                  </a:cubicBezTo>
                  <a:cubicBezTo>
                    <a:pt x="64" y="227"/>
                    <a:pt x="64" y="227"/>
                    <a:pt x="64" y="227"/>
                  </a:cubicBezTo>
                  <a:cubicBezTo>
                    <a:pt x="74" y="227"/>
                    <a:pt x="83" y="221"/>
                    <a:pt x="87" y="212"/>
                  </a:cubicBezTo>
                  <a:cubicBezTo>
                    <a:pt x="100" y="219"/>
                    <a:pt x="100" y="219"/>
                    <a:pt x="100" y="219"/>
                  </a:cubicBezTo>
                  <a:cubicBezTo>
                    <a:pt x="101" y="219"/>
                    <a:pt x="102" y="219"/>
                    <a:pt x="103" y="219"/>
                  </a:cubicBezTo>
                  <a:cubicBezTo>
                    <a:pt x="210" y="219"/>
                    <a:pt x="210" y="219"/>
                    <a:pt x="210" y="219"/>
                  </a:cubicBezTo>
                  <a:cubicBezTo>
                    <a:pt x="222" y="219"/>
                    <a:pt x="232" y="210"/>
                    <a:pt x="232" y="197"/>
                  </a:cubicBezTo>
                  <a:cubicBezTo>
                    <a:pt x="232" y="194"/>
                    <a:pt x="231" y="191"/>
                    <a:pt x="230" y="188"/>
                  </a:cubicBezTo>
                  <a:cubicBezTo>
                    <a:pt x="236" y="184"/>
                    <a:pt x="240" y="177"/>
                    <a:pt x="240" y="169"/>
                  </a:cubicBezTo>
                  <a:cubicBezTo>
                    <a:pt x="240" y="166"/>
                    <a:pt x="239" y="162"/>
                    <a:pt x="238" y="159"/>
                  </a:cubicBezTo>
                  <a:cubicBezTo>
                    <a:pt x="244" y="155"/>
                    <a:pt x="248" y="148"/>
                    <a:pt x="248" y="140"/>
                  </a:cubicBezTo>
                  <a:cubicBezTo>
                    <a:pt x="248" y="135"/>
                    <a:pt x="247" y="131"/>
                    <a:pt x="245" y="128"/>
                  </a:cubicBezTo>
                  <a:cubicBezTo>
                    <a:pt x="252" y="123"/>
                    <a:pt x="256" y="116"/>
                    <a:pt x="256" y="108"/>
                  </a:cubicBezTo>
                  <a:close/>
                  <a:moveTo>
                    <a:pt x="64" y="211"/>
                  </a:moveTo>
                  <a:cubicBezTo>
                    <a:pt x="32" y="211"/>
                    <a:pt x="32" y="211"/>
                    <a:pt x="32" y="211"/>
                  </a:cubicBezTo>
                  <a:cubicBezTo>
                    <a:pt x="28" y="211"/>
                    <a:pt x="25" y="206"/>
                    <a:pt x="24" y="202"/>
                  </a:cubicBezTo>
                  <a:cubicBezTo>
                    <a:pt x="16" y="131"/>
                    <a:pt x="16" y="131"/>
                    <a:pt x="16" y="131"/>
                  </a:cubicBezTo>
                  <a:cubicBezTo>
                    <a:pt x="17" y="127"/>
                    <a:pt x="20" y="123"/>
                    <a:pt x="24" y="123"/>
                  </a:cubicBezTo>
                  <a:cubicBezTo>
                    <a:pt x="64" y="123"/>
                    <a:pt x="64" y="123"/>
                    <a:pt x="64" y="123"/>
                  </a:cubicBezTo>
                  <a:cubicBezTo>
                    <a:pt x="69" y="123"/>
                    <a:pt x="72" y="127"/>
                    <a:pt x="72" y="131"/>
                  </a:cubicBezTo>
                  <a:cubicBezTo>
                    <a:pt x="72" y="198"/>
                    <a:pt x="72" y="198"/>
                    <a:pt x="72" y="198"/>
                  </a:cubicBezTo>
                  <a:cubicBezTo>
                    <a:pt x="72" y="199"/>
                    <a:pt x="72" y="200"/>
                    <a:pt x="72" y="201"/>
                  </a:cubicBezTo>
                  <a:cubicBezTo>
                    <a:pt x="72" y="203"/>
                    <a:pt x="72" y="203"/>
                    <a:pt x="72" y="203"/>
                  </a:cubicBezTo>
                  <a:cubicBezTo>
                    <a:pt x="72" y="208"/>
                    <a:pt x="69" y="211"/>
                    <a:pt x="64" y="211"/>
                  </a:cubicBezTo>
                  <a:close/>
                  <a:moveTo>
                    <a:pt x="210" y="203"/>
                  </a:moveTo>
                  <a:cubicBezTo>
                    <a:pt x="105" y="203"/>
                    <a:pt x="105" y="203"/>
                    <a:pt x="105" y="203"/>
                  </a:cubicBezTo>
                  <a:cubicBezTo>
                    <a:pt x="88" y="194"/>
                    <a:pt x="88" y="194"/>
                    <a:pt x="88" y="194"/>
                  </a:cubicBezTo>
                  <a:cubicBezTo>
                    <a:pt x="88" y="131"/>
                    <a:pt x="88" y="131"/>
                    <a:pt x="88" y="131"/>
                  </a:cubicBezTo>
                  <a:cubicBezTo>
                    <a:pt x="88" y="128"/>
                    <a:pt x="87" y="124"/>
                    <a:pt x="86" y="121"/>
                  </a:cubicBezTo>
                  <a:cubicBezTo>
                    <a:pt x="100" y="109"/>
                    <a:pt x="136" y="75"/>
                    <a:pt x="136" y="48"/>
                  </a:cubicBezTo>
                  <a:cubicBezTo>
                    <a:pt x="136" y="31"/>
                    <a:pt x="136" y="16"/>
                    <a:pt x="140" y="16"/>
                  </a:cubicBezTo>
                  <a:cubicBezTo>
                    <a:pt x="148" y="16"/>
                    <a:pt x="156" y="25"/>
                    <a:pt x="156" y="44"/>
                  </a:cubicBezTo>
                  <a:cubicBezTo>
                    <a:pt x="156" y="67"/>
                    <a:pt x="152" y="90"/>
                    <a:pt x="152" y="90"/>
                  </a:cubicBezTo>
                  <a:cubicBezTo>
                    <a:pt x="152" y="93"/>
                    <a:pt x="153" y="95"/>
                    <a:pt x="154" y="97"/>
                  </a:cubicBezTo>
                  <a:cubicBezTo>
                    <a:pt x="156" y="98"/>
                    <a:pt x="158" y="100"/>
                    <a:pt x="160" y="100"/>
                  </a:cubicBezTo>
                  <a:cubicBezTo>
                    <a:pt x="232" y="100"/>
                    <a:pt x="232" y="100"/>
                    <a:pt x="232" y="100"/>
                  </a:cubicBezTo>
                  <a:cubicBezTo>
                    <a:pt x="237" y="100"/>
                    <a:pt x="240" y="103"/>
                    <a:pt x="240" y="108"/>
                  </a:cubicBezTo>
                  <a:cubicBezTo>
                    <a:pt x="240" y="112"/>
                    <a:pt x="237" y="116"/>
                    <a:pt x="232" y="116"/>
                  </a:cubicBezTo>
                  <a:cubicBezTo>
                    <a:pt x="223" y="116"/>
                    <a:pt x="223" y="116"/>
                    <a:pt x="223" y="116"/>
                  </a:cubicBezTo>
                  <a:cubicBezTo>
                    <a:pt x="219" y="116"/>
                    <a:pt x="215" y="119"/>
                    <a:pt x="215" y="124"/>
                  </a:cubicBezTo>
                  <a:cubicBezTo>
                    <a:pt x="215" y="128"/>
                    <a:pt x="219" y="132"/>
                    <a:pt x="223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9" y="132"/>
                    <a:pt x="232" y="135"/>
                    <a:pt x="232" y="140"/>
                  </a:cubicBezTo>
                  <a:cubicBezTo>
                    <a:pt x="232" y="144"/>
                    <a:pt x="229" y="148"/>
                    <a:pt x="224" y="148"/>
                  </a:cubicBezTo>
                  <a:cubicBezTo>
                    <a:pt x="219" y="148"/>
                    <a:pt x="219" y="148"/>
                    <a:pt x="219" y="148"/>
                  </a:cubicBezTo>
                  <a:cubicBezTo>
                    <a:pt x="219" y="148"/>
                    <a:pt x="218" y="147"/>
                    <a:pt x="218" y="147"/>
                  </a:cubicBezTo>
                  <a:cubicBezTo>
                    <a:pt x="218" y="147"/>
                    <a:pt x="218" y="148"/>
                    <a:pt x="218" y="148"/>
                  </a:cubicBezTo>
                  <a:cubicBezTo>
                    <a:pt x="215" y="148"/>
                    <a:pt x="215" y="148"/>
                    <a:pt x="215" y="148"/>
                  </a:cubicBezTo>
                  <a:cubicBezTo>
                    <a:pt x="211" y="148"/>
                    <a:pt x="207" y="151"/>
                    <a:pt x="207" y="156"/>
                  </a:cubicBezTo>
                  <a:cubicBezTo>
                    <a:pt x="207" y="160"/>
                    <a:pt x="211" y="164"/>
                    <a:pt x="215" y="164"/>
                  </a:cubicBezTo>
                  <a:cubicBezTo>
                    <a:pt x="218" y="164"/>
                    <a:pt x="218" y="164"/>
                    <a:pt x="218" y="164"/>
                  </a:cubicBezTo>
                  <a:cubicBezTo>
                    <a:pt x="222" y="164"/>
                    <a:pt x="224" y="166"/>
                    <a:pt x="224" y="169"/>
                  </a:cubicBezTo>
                  <a:cubicBezTo>
                    <a:pt x="224" y="173"/>
                    <a:pt x="221" y="175"/>
                    <a:pt x="218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06" y="175"/>
                    <a:pt x="202" y="179"/>
                    <a:pt x="202" y="183"/>
                  </a:cubicBezTo>
                  <a:cubicBezTo>
                    <a:pt x="202" y="188"/>
                    <a:pt x="206" y="191"/>
                    <a:pt x="210" y="191"/>
                  </a:cubicBezTo>
                  <a:cubicBezTo>
                    <a:pt x="213" y="191"/>
                    <a:pt x="216" y="194"/>
                    <a:pt x="216" y="197"/>
                  </a:cubicBezTo>
                  <a:cubicBezTo>
                    <a:pt x="216" y="201"/>
                    <a:pt x="213" y="203"/>
                    <a:pt x="210" y="20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9F30573-EEBD-422E-7096-3D18F2BB8C1D}"/>
              </a:ext>
            </a:extLst>
          </p:cNvPr>
          <p:cNvGrpSpPr/>
          <p:nvPr/>
        </p:nvGrpSpPr>
        <p:grpSpPr>
          <a:xfrm>
            <a:off x="7555730" y="4807530"/>
            <a:ext cx="636681" cy="636683"/>
            <a:chOff x="3462701" y="3356038"/>
            <a:chExt cx="636681" cy="636683"/>
          </a:xfrm>
        </p:grpSpPr>
        <p:sp>
          <p:nvSpPr>
            <p:cNvPr id="23" name="Shape4_20180316_070157">
              <a:extLst>
                <a:ext uri="{FF2B5EF4-FFF2-40B4-BE49-F238E27FC236}">
                  <a16:creationId xmlns:a16="http://schemas.microsoft.com/office/drawing/2014/main" id="{BD6155C8-723C-A260-D615-9930C8840497}"/>
                </a:ext>
              </a:extLst>
            </p:cNvPr>
            <p:cNvSpPr/>
            <p:nvPr/>
          </p:nvSpPr>
          <p:spPr>
            <a:xfrm>
              <a:off x="3462701" y="3356038"/>
              <a:ext cx="636681" cy="636683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dirty="0"/>
            </a:p>
          </p:txBody>
        </p:sp>
        <p:sp>
          <p:nvSpPr>
            <p:cNvPr id="24" name="Shape3_20180316_070220">
              <a:extLst>
                <a:ext uri="{FF2B5EF4-FFF2-40B4-BE49-F238E27FC236}">
                  <a16:creationId xmlns:a16="http://schemas.microsoft.com/office/drawing/2014/main" id="{5B57A61D-0A2C-101A-E16C-630DE9EB18C7}"/>
                </a:ext>
              </a:extLst>
            </p:cNvPr>
            <p:cNvSpPr>
              <a:spLocks noChangeAspect="1"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3616909" y="3507339"/>
              <a:ext cx="333252" cy="334081"/>
            </a:xfrm>
            <a:custGeom>
              <a:avLst/>
              <a:gdLst>
                <a:gd name="T0" fmla="*/ 1698 w 2448"/>
                <a:gd name="T1" fmla="*/ 97 h 2446"/>
                <a:gd name="T2" fmla="*/ 748 w 2448"/>
                <a:gd name="T3" fmla="*/ 97 h 2446"/>
                <a:gd name="T4" fmla="*/ 0 w 2448"/>
                <a:gd name="T5" fmla="*/ 1222 h 2446"/>
                <a:gd name="T6" fmla="*/ 748 w 2448"/>
                <a:gd name="T7" fmla="*/ 2349 h 2446"/>
                <a:gd name="T8" fmla="*/ 1698 w 2448"/>
                <a:gd name="T9" fmla="*/ 2349 h 2446"/>
                <a:gd name="T10" fmla="*/ 2448 w 2448"/>
                <a:gd name="T11" fmla="*/ 1222 h 2446"/>
                <a:gd name="T12" fmla="*/ 816 w 2448"/>
                <a:gd name="T13" fmla="*/ 227 h 2446"/>
                <a:gd name="T14" fmla="*/ 264 w 2448"/>
                <a:gd name="T15" fmla="*/ 737 h 2446"/>
                <a:gd name="T16" fmla="*/ 149 w 2448"/>
                <a:gd name="T17" fmla="*/ 1222 h 2446"/>
                <a:gd name="T18" fmla="*/ 554 w 2448"/>
                <a:gd name="T19" fmla="*/ 884 h 2446"/>
                <a:gd name="T20" fmla="*/ 554 w 2448"/>
                <a:gd name="T21" fmla="*/ 1556 h 2446"/>
                <a:gd name="T22" fmla="*/ 149 w 2448"/>
                <a:gd name="T23" fmla="*/ 1222 h 2446"/>
                <a:gd name="T24" fmla="*/ 584 w 2448"/>
                <a:gd name="T25" fmla="*/ 1704 h 2446"/>
                <a:gd name="T26" fmla="*/ 264 w 2448"/>
                <a:gd name="T27" fmla="*/ 1704 h 2446"/>
                <a:gd name="T28" fmla="*/ 906 w 2448"/>
                <a:gd name="T29" fmla="*/ 2092 h 2446"/>
                <a:gd name="T30" fmla="*/ 1148 w 2448"/>
                <a:gd name="T31" fmla="*/ 1704 h 2446"/>
                <a:gd name="T32" fmla="*/ 1148 w 2448"/>
                <a:gd name="T33" fmla="*/ 1556 h 2446"/>
                <a:gd name="T34" fmla="*/ 677 w 2448"/>
                <a:gd name="T35" fmla="*/ 1222 h 2446"/>
                <a:gd name="T36" fmla="*/ 1148 w 2448"/>
                <a:gd name="T37" fmla="*/ 884 h 2446"/>
                <a:gd name="T38" fmla="*/ 1148 w 2448"/>
                <a:gd name="T39" fmla="*/ 737 h 2446"/>
                <a:gd name="T40" fmla="*/ 909 w 2448"/>
                <a:gd name="T41" fmla="*/ 353 h 2446"/>
                <a:gd name="T42" fmla="*/ 1148 w 2448"/>
                <a:gd name="T43" fmla="*/ 737 h 2446"/>
                <a:gd name="T44" fmla="*/ 1864 w 2448"/>
                <a:gd name="T45" fmla="*/ 737 h 2446"/>
                <a:gd name="T46" fmla="*/ 2184 w 2448"/>
                <a:gd name="T47" fmla="*/ 737 h 2446"/>
                <a:gd name="T48" fmla="*/ 1539 w 2448"/>
                <a:gd name="T49" fmla="*/ 353 h 2446"/>
                <a:gd name="T50" fmla="*/ 1300 w 2448"/>
                <a:gd name="T51" fmla="*/ 737 h 2446"/>
                <a:gd name="T52" fmla="*/ 1300 w 2448"/>
                <a:gd name="T53" fmla="*/ 884 h 2446"/>
                <a:gd name="T54" fmla="*/ 1771 w 2448"/>
                <a:gd name="T55" fmla="*/ 1222 h 2446"/>
                <a:gd name="T56" fmla="*/ 1300 w 2448"/>
                <a:gd name="T57" fmla="*/ 1556 h 2446"/>
                <a:gd name="T58" fmla="*/ 1300 w 2448"/>
                <a:gd name="T59" fmla="*/ 2286 h 2446"/>
                <a:gd name="T60" fmla="*/ 1711 w 2448"/>
                <a:gd name="T61" fmla="*/ 1704 h 2446"/>
                <a:gd name="T62" fmla="*/ 1300 w 2448"/>
                <a:gd name="T63" fmla="*/ 2286 h 2446"/>
                <a:gd name="T64" fmla="*/ 1864 w 2448"/>
                <a:gd name="T65" fmla="*/ 1704 h 2446"/>
                <a:gd name="T66" fmla="*/ 1632 w 2448"/>
                <a:gd name="T67" fmla="*/ 2219 h 2446"/>
                <a:gd name="T68" fmla="*/ 1894 w 2448"/>
                <a:gd name="T69" fmla="*/ 1556 h 2446"/>
                <a:gd name="T70" fmla="*/ 1894 w 2448"/>
                <a:gd name="T71" fmla="*/ 884 h 2446"/>
                <a:gd name="T72" fmla="*/ 2299 w 2448"/>
                <a:gd name="T73" fmla="*/ 1222 h 2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48" h="2446">
                  <a:moveTo>
                    <a:pt x="2350" y="747"/>
                  </a:moveTo>
                  <a:cubicBezTo>
                    <a:pt x="2221" y="446"/>
                    <a:pt x="2002" y="227"/>
                    <a:pt x="1698" y="97"/>
                  </a:cubicBezTo>
                  <a:cubicBezTo>
                    <a:pt x="1547" y="33"/>
                    <a:pt x="1389" y="0"/>
                    <a:pt x="1223" y="0"/>
                  </a:cubicBezTo>
                  <a:cubicBezTo>
                    <a:pt x="1057" y="0"/>
                    <a:pt x="900" y="32"/>
                    <a:pt x="748" y="97"/>
                  </a:cubicBezTo>
                  <a:cubicBezTo>
                    <a:pt x="447" y="226"/>
                    <a:pt x="226" y="445"/>
                    <a:pt x="96" y="747"/>
                  </a:cubicBezTo>
                  <a:cubicBezTo>
                    <a:pt x="32" y="898"/>
                    <a:pt x="0" y="1056"/>
                    <a:pt x="0" y="1222"/>
                  </a:cubicBezTo>
                  <a:cubicBezTo>
                    <a:pt x="0" y="1388"/>
                    <a:pt x="32" y="1547"/>
                    <a:pt x="96" y="1698"/>
                  </a:cubicBezTo>
                  <a:cubicBezTo>
                    <a:pt x="226" y="2000"/>
                    <a:pt x="447" y="2220"/>
                    <a:pt x="748" y="2349"/>
                  </a:cubicBezTo>
                  <a:cubicBezTo>
                    <a:pt x="900" y="2414"/>
                    <a:pt x="1057" y="2446"/>
                    <a:pt x="1223" y="2446"/>
                  </a:cubicBezTo>
                  <a:cubicBezTo>
                    <a:pt x="1389" y="2446"/>
                    <a:pt x="1547" y="2413"/>
                    <a:pt x="1698" y="2349"/>
                  </a:cubicBezTo>
                  <a:cubicBezTo>
                    <a:pt x="2002" y="2219"/>
                    <a:pt x="2221" y="1999"/>
                    <a:pt x="2350" y="1698"/>
                  </a:cubicBezTo>
                  <a:cubicBezTo>
                    <a:pt x="2415" y="1547"/>
                    <a:pt x="2448" y="1388"/>
                    <a:pt x="2448" y="1222"/>
                  </a:cubicBezTo>
                  <a:cubicBezTo>
                    <a:pt x="2448" y="1056"/>
                    <a:pt x="2415" y="898"/>
                    <a:pt x="2350" y="747"/>
                  </a:cubicBezTo>
                  <a:close/>
                  <a:moveTo>
                    <a:pt x="816" y="227"/>
                  </a:moveTo>
                  <a:cubicBezTo>
                    <a:pt x="711" y="361"/>
                    <a:pt x="633" y="531"/>
                    <a:pt x="584" y="737"/>
                  </a:cubicBezTo>
                  <a:cubicBezTo>
                    <a:pt x="264" y="737"/>
                    <a:pt x="264" y="737"/>
                    <a:pt x="264" y="737"/>
                  </a:cubicBezTo>
                  <a:cubicBezTo>
                    <a:pt x="381" y="508"/>
                    <a:pt x="580" y="325"/>
                    <a:pt x="816" y="227"/>
                  </a:cubicBezTo>
                  <a:close/>
                  <a:moveTo>
                    <a:pt x="149" y="1222"/>
                  </a:moveTo>
                  <a:cubicBezTo>
                    <a:pt x="149" y="1105"/>
                    <a:pt x="167" y="993"/>
                    <a:pt x="203" y="884"/>
                  </a:cubicBezTo>
                  <a:cubicBezTo>
                    <a:pt x="554" y="884"/>
                    <a:pt x="554" y="884"/>
                    <a:pt x="554" y="884"/>
                  </a:cubicBezTo>
                  <a:cubicBezTo>
                    <a:pt x="537" y="998"/>
                    <a:pt x="529" y="1111"/>
                    <a:pt x="529" y="1222"/>
                  </a:cubicBezTo>
                  <a:cubicBezTo>
                    <a:pt x="529" y="1331"/>
                    <a:pt x="537" y="1443"/>
                    <a:pt x="554" y="1556"/>
                  </a:cubicBezTo>
                  <a:cubicBezTo>
                    <a:pt x="201" y="1556"/>
                    <a:pt x="201" y="1556"/>
                    <a:pt x="201" y="1556"/>
                  </a:cubicBezTo>
                  <a:cubicBezTo>
                    <a:pt x="166" y="1448"/>
                    <a:pt x="149" y="1335"/>
                    <a:pt x="149" y="1222"/>
                  </a:cubicBezTo>
                  <a:close/>
                  <a:moveTo>
                    <a:pt x="264" y="1704"/>
                  </a:moveTo>
                  <a:cubicBezTo>
                    <a:pt x="584" y="1704"/>
                    <a:pt x="584" y="1704"/>
                    <a:pt x="584" y="1704"/>
                  </a:cubicBezTo>
                  <a:cubicBezTo>
                    <a:pt x="633" y="1914"/>
                    <a:pt x="711" y="2086"/>
                    <a:pt x="816" y="2219"/>
                  </a:cubicBezTo>
                  <a:cubicBezTo>
                    <a:pt x="576" y="2118"/>
                    <a:pt x="377" y="1935"/>
                    <a:pt x="264" y="1704"/>
                  </a:cubicBezTo>
                  <a:close/>
                  <a:moveTo>
                    <a:pt x="1148" y="2286"/>
                  </a:moveTo>
                  <a:cubicBezTo>
                    <a:pt x="1061" y="2260"/>
                    <a:pt x="980" y="2196"/>
                    <a:pt x="906" y="2092"/>
                  </a:cubicBezTo>
                  <a:cubicBezTo>
                    <a:pt x="833" y="1987"/>
                    <a:pt x="776" y="1857"/>
                    <a:pt x="737" y="1704"/>
                  </a:cubicBezTo>
                  <a:cubicBezTo>
                    <a:pt x="1148" y="1704"/>
                    <a:pt x="1148" y="1704"/>
                    <a:pt x="1148" y="1704"/>
                  </a:cubicBezTo>
                  <a:lnTo>
                    <a:pt x="1148" y="2286"/>
                  </a:lnTo>
                  <a:close/>
                  <a:moveTo>
                    <a:pt x="1148" y="1556"/>
                  </a:moveTo>
                  <a:cubicBezTo>
                    <a:pt x="704" y="1556"/>
                    <a:pt x="704" y="1556"/>
                    <a:pt x="704" y="1556"/>
                  </a:cubicBezTo>
                  <a:cubicBezTo>
                    <a:pt x="687" y="1437"/>
                    <a:pt x="677" y="1326"/>
                    <a:pt x="677" y="1222"/>
                  </a:cubicBezTo>
                  <a:cubicBezTo>
                    <a:pt x="677" y="1109"/>
                    <a:pt x="687" y="997"/>
                    <a:pt x="707" y="884"/>
                  </a:cubicBezTo>
                  <a:cubicBezTo>
                    <a:pt x="1148" y="884"/>
                    <a:pt x="1148" y="884"/>
                    <a:pt x="1148" y="884"/>
                  </a:cubicBezTo>
                  <a:cubicBezTo>
                    <a:pt x="1148" y="1556"/>
                    <a:pt x="1148" y="1556"/>
                    <a:pt x="1148" y="1556"/>
                  </a:cubicBezTo>
                  <a:close/>
                  <a:moveTo>
                    <a:pt x="1148" y="737"/>
                  </a:moveTo>
                  <a:cubicBezTo>
                    <a:pt x="737" y="737"/>
                    <a:pt x="737" y="737"/>
                    <a:pt x="737" y="737"/>
                  </a:cubicBezTo>
                  <a:cubicBezTo>
                    <a:pt x="779" y="585"/>
                    <a:pt x="836" y="456"/>
                    <a:pt x="909" y="353"/>
                  </a:cubicBezTo>
                  <a:cubicBezTo>
                    <a:pt x="983" y="249"/>
                    <a:pt x="1061" y="184"/>
                    <a:pt x="1148" y="160"/>
                  </a:cubicBezTo>
                  <a:cubicBezTo>
                    <a:pt x="1148" y="737"/>
                    <a:pt x="1148" y="737"/>
                    <a:pt x="1148" y="737"/>
                  </a:cubicBezTo>
                  <a:close/>
                  <a:moveTo>
                    <a:pt x="2184" y="737"/>
                  </a:moveTo>
                  <a:cubicBezTo>
                    <a:pt x="1864" y="737"/>
                    <a:pt x="1864" y="737"/>
                    <a:pt x="1864" y="737"/>
                  </a:cubicBezTo>
                  <a:cubicBezTo>
                    <a:pt x="1815" y="531"/>
                    <a:pt x="1737" y="361"/>
                    <a:pt x="1632" y="227"/>
                  </a:cubicBezTo>
                  <a:cubicBezTo>
                    <a:pt x="1868" y="325"/>
                    <a:pt x="2067" y="508"/>
                    <a:pt x="2184" y="737"/>
                  </a:cubicBezTo>
                  <a:close/>
                  <a:moveTo>
                    <a:pt x="1300" y="160"/>
                  </a:moveTo>
                  <a:cubicBezTo>
                    <a:pt x="1387" y="184"/>
                    <a:pt x="1465" y="249"/>
                    <a:pt x="1539" y="353"/>
                  </a:cubicBezTo>
                  <a:cubicBezTo>
                    <a:pt x="1613" y="456"/>
                    <a:pt x="1669" y="585"/>
                    <a:pt x="1711" y="737"/>
                  </a:cubicBezTo>
                  <a:cubicBezTo>
                    <a:pt x="1300" y="737"/>
                    <a:pt x="1300" y="737"/>
                    <a:pt x="1300" y="737"/>
                  </a:cubicBezTo>
                  <a:lnTo>
                    <a:pt x="1300" y="160"/>
                  </a:lnTo>
                  <a:close/>
                  <a:moveTo>
                    <a:pt x="1300" y="884"/>
                  </a:moveTo>
                  <a:cubicBezTo>
                    <a:pt x="1741" y="884"/>
                    <a:pt x="1741" y="884"/>
                    <a:pt x="1741" y="884"/>
                  </a:cubicBezTo>
                  <a:cubicBezTo>
                    <a:pt x="1761" y="997"/>
                    <a:pt x="1771" y="1109"/>
                    <a:pt x="1771" y="1222"/>
                  </a:cubicBezTo>
                  <a:cubicBezTo>
                    <a:pt x="1771" y="1326"/>
                    <a:pt x="1761" y="1437"/>
                    <a:pt x="1744" y="1556"/>
                  </a:cubicBezTo>
                  <a:cubicBezTo>
                    <a:pt x="1300" y="1556"/>
                    <a:pt x="1300" y="1556"/>
                    <a:pt x="1300" y="1556"/>
                  </a:cubicBezTo>
                  <a:lnTo>
                    <a:pt x="1300" y="884"/>
                  </a:lnTo>
                  <a:close/>
                  <a:moveTo>
                    <a:pt x="1300" y="2286"/>
                  </a:moveTo>
                  <a:cubicBezTo>
                    <a:pt x="1300" y="1704"/>
                    <a:pt x="1300" y="1704"/>
                    <a:pt x="1300" y="1704"/>
                  </a:cubicBezTo>
                  <a:cubicBezTo>
                    <a:pt x="1711" y="1704"/>
                    <a:pt x="1711" y="1704"/>
                    <a:pt x="1711" y="1704"/>
                  </a:cubicBezTo>
                  <a:cubicBezTo>
                    <a:pt x="1670" y="1857"/>
                    <a:pt x="1613" y="1987"/>
                    <a:pt x="1541" y="2092"/>
                  </a:cubicBezTo>
                  <a:cubicBezTo>
                    <a:pt x="1467" y="2197"/>
                    <a:pt x="1388" y="2262"/>
                    <a:pt x="1300" y="2286"/>
                  </a:cubicBezTo>
                  <a:close/>
                  <a:moveTo>
                    <a:pt x="1632" y="2219"/>
                  </a:moveTo>
                  <a:cubicBezTo>
                    <a:pt x="1737" y="2086"/>
                    <a:pt x="1815" y="1914"/>
                    <a:pt x="1864" y="1704"/>
                  </a:cubicBezTo>
                  <a:cubicBezTo>
                    <a:pt x="2184" y="1704"/>
                    <a:pt x="2184" y="1704"/>
                    <a:pt x="2184" y="1704"/>
                  </a:cubicBezTo>
                  <a:cubicBezTo>
                    <a:pt x="2071" y="1935"/>
                    <a:pt x="1872" y="2118"/>
                    <a:pt x="1632" y="2219"/>
                  </a:cubicBezTo>
                  <a:close/>
                  <a:moveTo>
                    <a:pt x="2247" y="1556"/>
                  </a:moveTo>
                  <a:cubicBezTo>
                    <a:pt x="1894" y="1556"/>
                    <a:pt x="1894" y="1556"/>
                    <a:pt x="1894" y="1556"/>
                  </a:cubicBezTo>
                  <a:cubicBezTo>
                    <a:pt x="1911" y="1443"/>
                    <a:pt x="1919" y="1331"/>
                    <a:pt x="1919" y="1222"/>
                  </a:cubicBezTo>
                  <a:cubicBezTo>
                    <a:pt x="1919" y="1111"/>
                    <a:pt x="1911" y="998"/>
                    <a:pt x="1894" y="884"/>
                  </a:cubicBezTo>
                  <a:cubicBezTo>
                    <a:pt x="2245" y="884"/>
                    <a:pt x="2245" y="884"/>
                    <a:pt x="2245" y="884"/>
                  </a:cubicBezTo>
                  <a:cubicBezTo>
                    <a:pt x="2281" y="993"/>
                    <a:pt x="2299" y="1105"/>
                    <a:pt x="2299" y="1222"/>
                  </a:cubicBezTo>
                  <a:cubicBezTo>
                    <a:pt x="2299" y="1335"/>
                    <a:pt x="2282" y="1448"/>
                    <a:pt x="2247" y="155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F50CCDD-2A0C-8304-5E33-2895778BE101}"/>
              </a:ext>
            </a:extLst>
          </p:cNvPr>
          <p:cNvGrpSpPr/>
          <p:nvPr/>
        </p:nvGrpSpPr>
        <p:grpSpPr>
          <a:xfrm>
            <a:off x="5821770" y="5678387"/>
            <a:ext cx="636681" cy="636683"/>
            <a:chOff x="5807255" y="1106259"/>
            <a:chExt cx="636681" cy="636683"/>
          </a:xfrm>
        </p:grpSpPr>
        <p:sp>
          <p:nvSpPr>
            <p:cNvPr id="26" name="Shape6_20180316_070157">
              <a:extLst>
                <a:ext uri="{FF2B5EF4-FFF2-40B4-BE49-F238E27FC236}">
                  <a16:creationId xmlns:a16="http://schemas.microsoft.com/office/drawing/2014/main" id="{77986B2C-9E60-F3D0-07A0-01DA734280D4}"/>
                </a:ext>
              </a:extLst>
            </p:cNvPr>
            <p:cNvSpPr/>
            <p:nvPr/>
          </p:nvSpPr>
          <p:spPr>
            <a:xfrm>
              <a:off x="5807255" y="1106259"/>
              <a:ext cx="636681" cy="636683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dirty="0"/>
            </a:p>
          </p:txBody>
        </p:sp>
        <p:grpSp>
          <p:nvGrpSpPr>
            <p:cNvPr id="27" name="Shape4_20180316_070220">
              <a:extLst>
                <a:ext uri="{FF2B5EF4-FFF2-40B4-BE49-F238E27FC236}">
                  <a16:creationId xmlns:a16="http://schemas.microsoft.com/office/drawing/2014/main" id="{7885AFDD-C2BC-9896-1927-41A3E475AF84}"/>
                </a:ext>
              </a:extLst>
            </p:cNvPr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>
            <a:xfrm>
              <a:off x="5958969" y="1274710"/>
              <a:ext cx="333252" cy="333252"/>
              <a:chOff x="-4769427" y="-314325"/>
              <a:chExt cx="4660901" cy="4576762"/>
            </a:xfrm>
            <a:solidFill>
              <a:schemeClr val="bg1"/>
            </a:solidFill>
          </p:grpSpPr>
          <p:sp>
            <p:nvSpPr>
              <p:cNvPr id="28" name="Freeform 23">
                <a:extLst>
                  <a:ext uri="{FF2B5EF4-FFF2-40B4-BE49-F238E27FC236}">
                    <a16:creationId xmlns:a16="http://schemas.microsoft.com/office/drawing/2014/main" id="{C21488BB-8E7A-EF1E-EDE2-668EE2B934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4509077" y="-314325"/>
                <a:ext cx="4138613" cy="3956050"/>
              </a:xfrm>
              <a:custGeom>
                <a:avLst/>
                <a:gdLst>
                  <a:gd name="T0" fmla="*/ 2128 w 2188"/>
                  <a:gd name="T1" fmla="*/ 946 h 2085"/>
                  <a:gd name="T2" fmla="*/ 2169 w 2188"/>
                  <a:gd name="T3" fmla="*/ 781 h 2085"/>
                  <a:gd name="T4" fmla="*/ 2038 w 2188"/>
                  <a:gd name="T5" fmla="*/ 671 h 2085"/>
                  <a:gd name="T6" fmla="*/ 1503 w 2188"/>
                  <a:gd name="T7" fmla="*/ 593 h 2085"/>
                  <a:gd name="T8" fmla="*/ 1478 w 2188"/>
                  <a:gd name="T9" fmla="*/ 576 h 2085"/>
                  <a:gd name="T10" fmla="*/ 1239 w 2188"/>
                  <a:gd name="T11" fmla="*/ 90 h 2085"/>
                  <a:gd name="T12" fmla="*/ 1094 w 2188"/>
                  <a:gd name="T13" fmla="*/ 0 h 2085"/>
                  <a:gd name="T14" fmla="*/ 949 w 2188"/>
                  <a:gd name="T15" fmla="*/ 90 h 2085"/>
                  <a:gd name="T16" fmla="*/ 710 w 2188"/>
                  <a:gd name="T17" fmla="*/ 576 h 2085"/>
                  <a:gd name="T18" fmla="*/ 685 w 2188"/>
                  <a:gd name="T19" fmla="*/ 593 h 2085"/>
                  <a:gd name="T20" fmla="*/ 150 w 2188"/>
                  <a:gd name="T21" fmla="*/ 671 h 2085"/>
                  <a:gd name="T22" fmla="*/ 19 w 2188"/>
                  <a:gd name="T23" fmla="*/ 781 h 2085"/>
                  <a:gd name="T24" fmla="*/ 60 w 2188"/>
                  <a:gd name="T25" fmla="*/ 946 h 2085"/>
                  <a:gd name="T26" fmla="*/ 448 w 2188"/>
                  <a:gd name="T27" fmla="*/ 1324 h 2085"/>
                  <a:gd name="T28" fmla="*/ 457 w 2188"/>
                  <a:gd name="T29" fmla="*/ 1353 h 2085"/>
                  <a:gd name="T30" fmla="*/ 366 w 2188"/>
                  <a:gd name="T31" fmla="*/ 1886 h 2085"/>
                  <a:gd name="T32" fmla="*/ 430 w 2188"/>
                  <a:gd name="T33" fmla="*/ 2044 h 2085"/>
                  <a:gd name="T34" fmla="*/ 600 w 2188"/>
                  <a:gd name="T35" fmla="*/ 2056 h 2085"/>
                  <a:gd name="T36" fmla="*/ 1079 w 2188"/>
                  <a:gd name="T37" fmla="*/ 1805 h 2085"/>
                  <a:gd name="T38" fmla="*/ 1109 w 2188"/>
                  <a:gd name="T39" fmla="*/ 1805 h 2085"/>
                  <a:gd name="T40" fmla="*/ 1588 w 2188"/>
                  <a:gd name="T41" fmla="*/ 2056 h 2085"/>
                  <a:gd name="T42" fmla="*/ 1663 w 2188"/>
                  <a:gd name="T43" fmla="*/ 2075 h 2085"/>
                  <a:gd name="T44" fmla="*/ 1758 w 2188"/>
                  <a:gd name="T45" fmla="*/ 2044 h 2085"/>
                  <a:gd name="T46" fmla="*/ 1822 w 2188"/>
                  <a:gd name="T47" fmla="*/ 1886 h 2085"/>
                  <a:gd name="T48" fmla="*/ 1731 w 2188"/>
                  <a:gd name="T49" fmla="*/ 1353 h 2085"/>
                  <a:gd name="T50" fmla="*/ 1740 w 2188"/>
                  <a:gd name="T51" fmla="*/ 1324 h 2085"/>
                  <a:gd name="T52" fmla="*/ 2128 w 2188"/>
                  <a:gd name="T53" fmla="*/ 946 h 2085"/>
                  <a:gd name="T54" fmla="*/ 1604 w 2188"/>
                  <a:gd name="T55" fmla="*/ 1375 h 2085"/>
                  <a:gd name="T56" fmla="*/ 1695 w 2188"/>
                  <a:gd name="T57" fmla="*/ 1908 h 2085"/>
                  <a:gd name="T58" fmla="*/ 1682 w 2188"/>
                  <a:gd name="T59" fmla="*/ 1940 h 2085"/>
                  <a:gd name="T60" fmla="*/ 1648 w 2188"/>
                  <a:gd name="T61" fmla="*/ 1942 h 2085"/>
                  <a:gd name="T62" fmla="*/ 1169 w 2188"/>
                  <a:gd name="T63" fmla="*/ 1690 h 2085"/>
                  <a:gd name="T64" fmla="*/ 1094 w 2188"/>
                  <a:gd name="T65" fmla="*/ 1672 h 2085"/>
                  <a:gd name="T66" fmla="*/ 1019 w 2188"/>
                  <a:gd name="T67" fmla="*/ 1690 h 2085"/>
                  <a:gd name="T68" fmla="*/ 540 w 2188"/>
                  <a:gd name="T69" fmla="*/ 1942 h 2085"/>
                  <a:gd name="T70" fmla="*/ 506 w 2188"/>
                  <a:gd name="T71" fmla="*/ 1940 h 2085"/>
                  <a:gd name="T72" fmla="*/ 493 w 2188"/>
                  <a:gd name="T73" fmla="*/ 1908 h 2085"/>
                  <a:gd name="T74" fmla="*/ 584 w 2188"/>
                  <a:gd name="T75" fmla="*/ 1375 h 2085"/>
                  <a:gd name="T76" fmla="*/ 538 w 2188"/>
                  <a:gd name="T77" fmla="*/ 1232 h 2085"/>
                  <a:gd name="T78" fmla="*/ 150 w 2188"/>
                  <a:gd name="T79" fmla="*/ 854 h 2085"/>
                  <a:gd name="T80" fmla="*/ 142 w 2188"/>
                  <a:gd name="T81" fmla="*/ 821 h 2085"/>
                  <a:gd name="T82" fmla="*/ 168 w 2188"/>
                  <a:gd name="T83" fmla="*/ 799 h 2085"/>
                  <a:gd name="T84" fmla="*/ 704 w 2188"/>
                  <a:gd name="T85" fmla="*/ 721 h 2085"/>
                  <a:gd name="T86" fmla="*/ 826 w 2188"/>
                  <a:gd name="T87" fmla="*/ 633 h 2085"/>
                  <a:gd name="T88" fmla="*/ 1065 w 2188"/>
                  <a:gd name="T89" fmla="*/ 147 h 2085"/>
                  <a:gd name="T90" fmla="*/ 1094 w 2188"/>
                  <a:gd name="T91" fmla="*/ 129 h 2085"/>
                  <a:gd name="T92" fmla="*/ 1123 w 2188"/>
                  <a:gd name="T93" fmla="*/ 147 h 2085"/>
                  <a:gd name="T94" fmla="*/ 1123 w 2188"/>
                  <a:gd name="T95" fmla="*/ 147 h 2085"/>
                  <a:gd name="T96" fmla="*/ 1363 w 2188"/>
                  <a:gd name="T97" fmla="*/ 633 h 2085"/>
                  <a:gd name="T98" fmla="*/ 1484 w 2188"/>
                  <a:gd name="T99" fmla="*/ 721 h 2085"/>
                  <a:gd name="T100" fmla="*/ 2020 w 2188"/>
                  <a:gd name="T101" fmla="*/ 799 h 2085"/>
                  <a:gd name="T102" fmla="*/ 2046 w 2188"/>
                  <a:gd name="T103" fmla="*/ 821 h 2085"/>
                  <a:gd name="T104" fmla="*/ 2038 w 2188"/>
                  <a:gd name="T105" fmla="*/ 854 h 2085"/>
                  <a:gd name="T106" fmla="*/ 1650 w 2188"/>
                  <a:gd name="T107" fmla="*/ 1232 h 2085"/>
                  <a:gd name="T108" fmla="*/ 1604 w 2188"/>
                  <a:gd name="T109" fmla="*/ 1375 h 20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188" h="2085">
                    <a:moveTo>
                      <a:pt x="2128" y="946"/>
                    </a:moveTo>
                    <a:cubicBezTo>
                      <a:pt x="2172" y="903"/>
                      <a:pt x="2188" y="840"/>
                      <a:pt x="2169" y="781"/>
                    </a:cubicBezTo>
                    <a:cubicBezTo>
                      <a:pt x="2149" y="722"/>
                      <a:pt x="2100" y="680"/>
                      <a:pt x="2038" y="671"/>
                    </a:cubicBezTo>
                    <a:cubicBezTo>
                      <a:pt x="1503" y="593"/>
                      <a:pt x="1503" y="593"/>
                      <a:pt x="1503" y="593"/>
                    </a:cubicBezTo>
                    <a:cubicBezTo>
                      <a:pt x="1492" y="592"/>
                      <a:pt x="1483" y="585"/>
                      <a:pt x="1478" y="576"/>
                    </a:cubicBezTo>
                    <a:cubicBezTo>
                      <a:pt x="1239" y="90"/>
                      <a:pt x="1239" y="90"/>
                      <a:pt x="1239" y="90"/>
                    </a:cubicBezTo>
                    <a:cubicBezTo>
                      <a:pt x="1211" y="35"/>
                      <a:pt x="1156" y="0"/>
                      <a:pt x="1094" y="0"/>
                    </a:cubicBezTo>
                    <a:cubicBezTo>
                      <a:pt x="1032" y="0"/>
                      <a:pt x="977" y="35"/>
                      <a:pt x="949" y="90"/>
                    </a:cubicBezTo>
                    <a:cubicBezTo>
                      <a:pt x="710" y="576"/>
                      <a:pt x="710" y="576"/>
                      <a:pt x="710" y="576"/>
                    </a:cubicBezTo>
                    <a:cubicBezTo>
                      <a:pt x="705" y="585"/>
                      <a:pt x="696" y="592"/>
                      <a:pt x="685" y="593"/>
                    </a:cubicBezTo>
                    <a:cubicBezTo>
                      <a:pt x="150" y="671"/>
                      <a:pt x="150" y="671"/>
                      <a:pt x="150" y="671"/>
                    </a:cubicBezTo>
                    <a:cubicBezTo>
                      <a:pt x="88" y="680"/>
                      <a:pt x="39" y="722"/>
                      <a:pt x="19" y="781"/>
                    </a:cubicBezTo>
                    <a:cubicBezTo>
                      <a:pt x="0" y="840"/>
                      <a:pt x="16" y="903"/>
                      <a:pt x="60" y="946"/>
                    </a:cubicBezTo>
                    <a:cubicBezTo>
                      <a:pt x="448" y="1324"/>
                      <a:pt x="448" y="1324"/>
                      <a:pt x="448" y="1324"/>
                    </a:cubicBezTo>
                    <a:cubicBezTo>
                      <a:pt x="455" y="1332"/>
                      <a:pt x="459" y="1342"/>
                      <a:pt x="457" y="1353"/>
                    </a:cubicBezTo>
                    <a:cubicBezTo>
                      <a:pt x="366" y="1886"/>
                      <a:pt x="366" y="1886"/>
                      <a:pt x="366" y="1886"/>
                    </a:cubicBezTo>
                    <a:cubicBezTo>
                      <a:pt x="355" y="1947"/>
                      <a:pt x="380" y="2008"/>
                      <a:pt x="430" y="2044"/>
                    </a:cubicBezTo>
                    <a:cubicBezTo>
                      <a:pt x="480" y="2081"/>
                      <a:pt x="545" y="2085"/>
                      <a:pt x="600" y="2056"/>
                    </a:cubicBezTo>
                    <a:cubicBezTo>
                      <a:pt x="1079" y="1805"/>
                      <a:pt x="1079" y="1805"/>
                      <a:pt x="1079" y="1805"/>
                    </a:cubicBezTo>
                    <a:cubicBezTo>
                      <a:pt x="1088" y="1800"/>
                      <a:pt x="1100" y="1800"/>
                      <a:pt x="1109" y="1805"/>
                    </a:cubicBezTo>
                    <a:cubicBezTo>
                      <a:pt x="1588" y="2056"/>
                      <a:pt x="1588" y="2056"/>
                      <a:pt x="1588" y="2056"/>
                    </a:cubicBezTo>
                    <a:cubicBezTo>
                      <a:pt x="1612" y="2069"/>
                      <a:pt x="1638" y="2075"/>
                      <a:pt x="1663" y="2075"/>
                    </a:cubicBezTo>
                    <a:cubicBezTo>
                      <a:pt x="1697" y="2075"/>
                      <a:pt x="1730" y="2065"/>
                      <a:pt x="1758" y="2044"/>
                    </a:cubicBezTo>
                    <a:cubicBezTo>
                      <a:pt x="1808" y="2008"/>
                      <a:pt x="1833" y="1947"/>
                      <a:pt x="1822" y="1886"/>
                    </a:cubicBezTo>
                    <a:cubicBezTo>
                      <a:pt x="1731" y="1353"/>
                      <a:pt x="1731" y="1353"/>
                      <a:pt x="1731" y="1353"/>
                    </a:cubicBezTo>
                    <a:cubicBezTo>
                      <a:pt x="1729" y="1342"/>
                      <a:pt x="1733" y="1332"/>
                      <a:pt x="1740" y="1324"/>
                    </a:cubicBezTo>
                    <a:lnTo>
                      <a:pt x="2128" y="946"/>
                    </a:lnTo>
                    <a:close/>
                    <a:moveTo>
                      <a:pt x="1604" y="1375"/>
                    </a:moveTo>
                    <a:cubicBezTo>
                      <a:pt x="1695" y="1908"/>
                      <a:pt x="1695" y="1908"/>
                      <a:pt x="1695" y="1908"/>
                    </a:cubicBezTo>
                    <a:cubicBezTo>
                      <a:pt x="1698" y="1926"/>
                      <a:pt x="1687" y="1936"/>
                      <a:pt x="1682" y="1940"/>
                    </a:cubicBezTo>
                    <a:cubicBezTo>
                      <a:pt x="1677" y="1943"/>
                      <a:pt x="1664" y="1951"/>
                      <a:pt x="1648" y="1942"/>
                    </a:cubicBezTo>
                    <a:cubicBezTo>
                      <a:pt x="1169" y="1690"/>
                      <a:pt x="1169" y="1690"/>
                      <a:pt x="1169" y="1690"/>
                    </a:cubicBezTo>
                    <a:cubicBezTo>
                      <a:pt x="1146" y="1678"/>
                      <a:pt x="1120" y="1672"/>
                      <a:pt x="1094" y="1672"/>
                    </a:cubicBezTo>
                    <a:cubicBezTo>
                      <a:pt x="1068" y="1672"/>
                      <a:pt x="1042" y="1678"/>
                      <a:pt x="1019" y="1690"/>
                    </a:cubicBezTo>
                    <a:cubicBezTo>
                      <a:pt x="540" y="1942"/>
                      <a:pt x="540" y="1942"/>
                      <a:pt x="540" y="1942"/>
                    </a:cubicBezTo>
                    <a:cubicBezTo>
                      <a:pt x="524" y="1951"/>
                      <a:pt x="511" y="1943"/>
                      <a:pt x="506" y="1940"/>
                    </a:cubicBezTo>
                    <a:cubicBezTo>
                      <a:pt x="501" y="1936"/>
                      <a:pt x="490" y="1926"/>
                      <a:pt x="493" y="1908"/>
                    </a:cubicBezTo>
                    <a:cubicBezTo>
                      <a:pt x="584" y="1375"/>
                      <a:pt x="584" y="1375"/>
                      <a:pt x="584" y="1375"/>
                    </a:cubicBezTo>
                    <a:cubicBezTo>
                      <a:pt x="593" y="1322"/>
                      <a:pt x="576" y="1269"/>
                      <a:pt x="538" y="1232"/>
                    </a:cubicBezTo>
                    <a:cubicBezTo>
                      <a:pt x="150" y="854"/>
                      <a:pt x="150" y="854"/>
                      <a:pt x="150" y="854"/>
                    </a:cubicBezTo>
                    <a:cubicBezTo>
                      <a:pt x="137" y="841"/>
                      <a:pt x="140" y="827"/>
                      <a:pt x="142" y="821"/>
                    </a:cubicBezTo>
                    <a:cubicBezTo>
                      <a:pt x="144" y="815"/>
                      <a:pt x="150" y="801"/>
                      <a:pt x="168" y="799"/>
                    </a:cubicBezTo>
                    <a:cubicBezTo>
                      <a:pt x="704" y="721"/>
                      <a:pt x="704" y="721"/>
                      <a:pt x="704" y="721"/>
                    </a:cubicBezTo>
                    <a:cubicBezTo>
                      <a:pt x="757" y="713"/>
                      <a:pt x="802" y="680"/>
                      <a:pt x="826" y="633"/>
                    </a:cubicBezTo>
                    <a:cubicBezTo>
                      <a:pt x="1065" y="147"/>
                      <a:pt x="1065" y="147"/>
                      <a:pt x="1065" y="147"/>
                    </a:cubicBezTo>
                    <a:cubicBezTo>
                      <a:pt x="1073" y="131"/>
                      <a:pt x="1088" y="129"/>
                      <a:pt x="1094" y="129"/>
                    </a:cubicBezTo>
                    <a:cubicBezTo>
                      <a:pt x="1100" y="129"/>
                      <a:pt x="1115" y="131"/>
                      <a:pt x="1123" y="147"/>
                    </a:cubicBezTo>
                    <a:cubicBezTo>
                      <a:pt x="1123" y="147"/>
                      <a:pt x="1123" y="147"/>
                      <a:pt x="1123" y="147"/>
                    </a:cubicBezTo>
                    <a:cubicBezTo>
                      <a:pt x="1363" y="633"/>
                      <a:pt x="1363" y="633"/>
                      <a:pt x="1363" y="633"/>
                    </a:cubicBezTo>
                    <a:cubicBezTo>
                      <a:pt x="1386" y="680"/>
                      <a:pt x="1431" y="713"/>
                      <a:pt x="1484" y="721"/>
                    </a:cubicBezTo>
                    <a:cubicBezTo>
                      <a:pt x="2020" y="799"/>
                      <a:pt x="2020" y="799"/>
                      <a:pt x="2020" y="799"/>
                    </a:cubicBezTo>
                    <a:cubicBezTo>
                      <a:pt x="2038" y="801"/>
                      <a:pt x="2044" y="815"/>
                      <a:pt x="2046" y="821"/>
                    </a:cubicBezTo>
                    <a:cubicBezTo>
                      <a:pt x="2048" y="827"/>
                      <a:pt x="2051" y="841"/>
                      <a:pt x="2038" y="854"/>
                    </a:cubicBezTo>
                    <a:cubicBezTo>
                      <a:pt x="1650" y="1232"/>
                      <a:pt x="1650" y="1232"/>
                      <a:pt x="1650" y="1232"/>
                    </a:cubicBezTo>
                    <a:cubicBezTo>
                      <a:pt x="1612" y="1269"/>
                      <a:pt x="1595" y="1322"/>
                      <a:pt x="1604" y="137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">
                <a:extLst>
                  <a:ext uri="{FF2B5EF4-FFF2-40B4-BE49-F238E27FC236}">
                    <a16:creationId xmlns:a16="http://schemas.microsoft.com/office/drawing/2014/main" id="{659E43D8-5D0B-BAA1-1CC1-1ECD926036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351539" y="-182563"/>
                <a:ext cx="406400" cy="439738"/>
              </a:xfrm>
              <a:custGeom>
                <a:avLst/>
                <a:gdLst>
                  <a:gd name="T0" fmla="*/ 179 w 215"/>
                  <a:gd name="T1" fmla="*/ 21 h 232"/>
                  <a:gd name="T2" fmla="*/ 89 w 215"/>
                  <a:gd name="T3" fmla="*/ 35 h 232"/>
                  <a:gd name="T4" fmla="*/ 21 w 215"/>
                  <a:gd name="T5" fmla="*/ 130 h 232"/>
                  <a:gd name="T6" fmla="*/ 35 w 215"/>
                  <a:gd name="T7" fmla="*/ 220 h 232"/>
                  <a:gd name="T8" fmla="*/ 73 w 215"/>
                  <a:gd name="T9" fmla="*/ 232 h 232"/>
                  <a:gd name="T10" fmla="*/ 125 w 215"/>
                  <a:gd name="T11" fmla="*/ 206 h 232"/>
                  <a:gd name="T12" fmla="*/ 194 w 215"/>
                  <a:gd name="T13" fmla="*/ 111 h 232"/>
                  <a:gd name="T14" fmla="*/ 179 w 215"/>
                  <a:gd name="T15" fmla="*/ 21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5" h="232">
                    <a:moveTo>
                      <a:pt x="179" y="21"/>
                    </a:moveTo>
                    <a:cubicBezTo>
                      <a:pt x="151" y="0"/>
                      <a:pt x="110" y="7"/>
                      <a:pt x="89" y="35"/>
                    </a:cubicBezTo>
                    <a:cubicBezTo>
                      <a:pt x="21" y="130"/>
                      <a:pt x="21" y="130"/>
                      <a:pt x="21" y="130"/>
                    </a:cubicBezTo>
                    <a:cubicBezTo>
                      <a:pt x="0" y="159"/>
                      <a:pt x="6" y="199"/>
                      <a:pt x="35" y="220"/>
                    </a:cubicBezTo>
                    <a:cubicBezTo>
                      <a:pt x="46" y="228"/>
                      <a:pt x="60" y="232"/>
                      <a:pt x="73" y="232"/>
                    </a:cubicBezTo>
                    <a:cubicBezTo>
                      <a:pt x="93" y="232"/>
                      <a:pt x="113" y="223"/>
                      <a:pt x="125" y="206"/>
                    </a:cubicBezTo>
                    <a:cubicBezTo>
                      <a:pt x="194" y="111"/>
                      <a:pt x="194" y="111"/>
                      <a:pt x="194" y="111"/>
                    </a:cubicBezTo>
                    <a:cubicBezTo>
                      <a:pt x="215" y="83"/>
                      <a:pt x="208" y="42"/>
                      <a:pt x="179" y="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5">
                <a:extLst>
                  <a:ext uri="{FF2B5EF4-FFF2-40B4-BE49-F238E27FC236}">
                    <a16:creationId xmlns:a16="http://schemas.microsoft.com/office/drawing/2014/main" id="{FBB496A0-2470-F030-5879-7C760A9221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934402" y="-182563"/>
                <a:ext cx="407988" cy="439738"/>
              </a:xfrm>
              <a:custGeom>
                <a:avLst/>
                <a:gdLst>
                  <a:gd name="T0" fmla="*/ 194 w 215"/>
                  <a:gd name="T1" fmla="*/ 129 h 232"/>
                  <a:gd name="T2" fmla="*/ 126 w 215"/>
                  <a:gd name="T3" fmla="*/ 35 h 232"/>
                  <a:gd name="T4" fmla="*/ 35 w 215"/>
                  <a:gd name="T5" fmla="*/ 21 h 232"/>
                  <a:gd name="T6" fmla="*/ 21 w 215"/>
                  <a:gd name="T7" fmla="*/ 111 h 232"/>
                  <a:gd name="T8" fmla="*/ 90 w 215"/>
                  <a:gd name="T9" fmla="*/ 205 h 232"/>
                  <a:gd name="T10" fmla="*/ 142 w 215"/>
                  <a:gd name="T11" fmla="*/ 232 h 232"/>
                  <a:gd name="T12" fmla="*/ 180 w 215"/>
                  <a:gd name="T13" fmla="*/ 220 h 232"/>
                  <a:gd name="T14" fmla="*/ 194 w 215"/>
                  <a:gd name="T15" fmla="*/ 129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5" h="232">
                    <a:moveTo>
                      <a:pt x="194" y="129"/>
                    </a:moveTo>
                    <a:cubicBezTo>
                      <a:pt x="126" y="35"/>
                      <a:pt x="126" y="35"/>
                      <a:pt x="126" y="35"/>
                    </a:cubicBezTo>
                    <a:cubicBezTo>
                      <a:pt x="105" y="6"/>
                      <a:pt x="64" y="0"/>
                      <a:pt x="35" y="21"/>
                    </a:cubicBezTo>
                    <a:cubicBezTo>
                      <a:pt x="6" y="42"/>
                      <a:pt x="0" y="82"/>
                      <a:pt x="21" y="111"/>
                    </a:cubicBezTo>
                    <a:cubicBezTo>
                      <a:pt x="90" y="205"/>
                      <a:pt x="90" y="205"/>
                      <a:pt x="90" y="205"/>
                    </a:cubicBezTo>
                    <a:cubicBezTo>
                      <a:pt x="102" y="223"/>
                      <a:pt x="122" y="232"/>
                      <a:pt x="142" y="232"/>
                    </a:cubicBezTo>
                    <a:cubicBezTo>
                      <a:pt x="155" y="232"/>
                      <a:pt x="168" y="228"/>
                      <a:pt x="180" y="220"/>
                    </a:cubicBezTo>
                    <a:cubicBezTo>
                      <a:pt x="209" y="199"/>
                      <a:pt x="215" y="158"/>
                      <a:pt x="194" y="1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26">
                <a:extLst>
                  <a:ext uri="{FF2B5EF4-FFF2-40B4-BE49-F238E27FC236}">
                    <a16:creationId xmlns:a16="http://schemas.microsoft.com/office/drawing/2014/main" id="{281FD11F-A162-8779-4BCB-CD9F4960FD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769427" y="2336800"/>
                <a:ext cx="484188" cy="328613"/>
              </a:xfrm>
              <a:custGeom>
                <a:avLst/>
                <a:gdLst>
                  <a:gd name="T0" fmla="*/ 245 w 256"/>
                  <a:gd name="T1" fmla="*/ 52 h 173"/>
                  <a:gd name="T2" fmla="*/ 164 w 256"/>
                  <a:gd name="T3" fmla="*/ 11 h 173"/>
                  <a:gd name="T4" fmla="*/ 53 w 256"/>
                  <a:gd name="T5" fmla="*/ 47 h 173"/>
                  <a:gd name="T6" fmla="*/ 11 w 256"/>
                  <a:gd name="T7" fmla="*/ 128 h 173"/>
                  <a:gd name="T8" fmla="*/ 73 w 256"/>
                  <a:gd name="T9" fmla="*/ 173 h 173"/>
                  <a:gd name="T10" fmla="*/ 93 w 256"/>
                  <a:gd name="T11" fmla="*/ 169 h 173"/>
                  <a:gd name="T12" fmla="*/ 203 w 256"/>
                  <a:gd name="T13" fmla="*/ 133 h 173"/>
                  <a:gd name="T14" fmla="*/ 245 w 256"/>
                  <a:gd name="T15" fmla="*/ 52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6" h="173">
                    <a:moveTo>
                      <a:pt x="245" y="52"/>
                    </a:moveTo>
                    <a:cubicBezTo>
                      <a:pt x="234" y="18"/>
                      <a:pt x="197" y="0"/>
                      <a:pt x="164" y="11"/>
                    </a:cubicBezTo>
                    <a:cubicBezTo>
                      <a:pt x="53" y="47"/>
                      <a:pt x="53" y="47"/>
                      <a:pt x="53" y="47"/>
                    </a:cubicBezTo>
                    <a:cubicBezTo>
                      <a:pt x="19" y="58"/>
                      <a:pt x="0" y="94"/>
                      <a:pt x="11" y="128"/>
                    </a:cubicBezTo>
                    <a:cubicBezTo>
                      <a:pt x="20" y="155"/>
                      <a:pt x="45" y="173"/>
                      <a:pt x="73" y="173"/>
                    </a:cubicBezTo>
                    <a:cubicBezTo>
                      <a:pt x="79" y="173"/>
                      <a:pt x="86" y="172"/>
                      <a:pt x="93" y="169"/>
                    </a:cubicBezTo>
                    <a:cubicBezTo>
                      <a:pt x="203" y="133"/>
                      <a:pt x="203" y="133"/>
                      <a:pt x="203" y="133"/>
                    </a:cubicBezTo>
                    <a:cubicBezTo>
                      <a:pt x="237" y="122"/>
                      <a:pt x="256" y="86"/>
                      <a:pt x="245" y="5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Freeform 27">
                <a:extLst>
                  <a:ext uri="{FF2B5EF4-FFF2-40B4-BE49-F238E27FC236}">
                    <a16:creationId xmlns:a16="http://schemas.microsoft.com/office/drawing/2014/main" id="{30CE4691-9685-1B46-9FCA-E75C11CC5C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562802" y="3795712"/>
                <a:ext cx="246063" cy="466725"/>
              </a:xfrm>
              <a:custGeom>
                <a:avLst/>
                <a:gdLst>
                  <a:gd name="T0" fmla="*/ 65 w 130"/>
                  <a:gd name="T1" fmla="*/ 0 h 246"/>
                  <a:gd name="T2" fmla="*/ 0 w 130"/>
                  <a:gd name="T3" fmla="*/ 65 h 246"/>
                  <a:gd name="T4" fmla="*/ 0 w 130"/>
                  <a:gd name="T5" fmla="*/ 181 h 246"/>
                  <a:gd name="T6" fmla="*/ 65 w 130"/>
                  <a:gd name="T7" fmla="*/ 246 h 246"/>
                  <a:gd name="T8" fmla="*/ 130 w 130"/>
                  <a:gd name="T9" fmla="*/ 181 h 246"/>
                  <a:gd name="T10" fmla="*/ 130 w 130"/>
                  <a:gd name="T11" fmla="*/ 65 h 246"/>
                  <a:gd name="T12" fmla="*/ 65 w 130"/>
                  <a:gd name="T13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0" h="246">
                    <a:moveTo>
                      <a:pt x="65" y="0"/>
                    </a:moveTo>
                    <a:cubicBezTo>
                      <a:pt x="29" y="0"/>
                      <a:pt x="0" y="29"/>
                      <a:pt x="0" y="65"/>
                    </a:cubicBezTo>
                    <a:cubicBezTo>
                      <a:pt x="0" y="181"/>
                      <a:pt x="0" y="181"/>
                      <a:pt x="0" y="181"/>
                    </a:cubicBezTo>
                    <a:cubicBezTo>
                      <a:pt x="0" y="217"/>
                      <a:pt x="29" y="246"/>
                      <a:pt x="65" y="246"/>
                    </a:cubicBezTo>
                    <a:cubicBezTo>
                      <a:pt x="101" y="246"/>
                      <a:pt x="130" y="217"/>
                      <a:pt x="130" y="181"/>
                    </a:cubicBezTo>
                    <a:cubicBezTo>
                      <a:pt x="130" y="65"/>
                      <a:pt x="130" y="65"/>
                      <a:pt x="130" y="65"/>
                    </a:cubicBezTo>
                    <a:cubicBezTo>
                      <a:pt x="130" y="29"/>
                      <a:pt x="101" y="0"/>
                      <a:pt x="6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Freeform 28">
                <a:extLst>
                  <a:ext uri="{FF2B5EF4-FFF2-40B4-BE49-F238E27FC236}">
                    <a16:creationId xmlns:a16="http://schemas.microsoft.com/office/drawing/2014/main" id="{61E8ABEC-1FCC-DB08-896B-163A6A9B31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92714" y="2336800"/>
                <a:ext cx="484188" cy="328613"/>
              </a:xfrm>
              <a:custGeom>
                <a:avLst/>
                <a:gdLst>
                  <a:gd name="T0" fmla="*/ 203 w 256"/>
                  <a:gd name="T1" fmla="*/ 47 h 173"/>
                  <a:gd name="T2" fmla="*/ 92 w 256"/>
                  <a:gd name="T3" fmla="*/ 11 h 173"/>
                  <a:gd name="T4" fmla="*/ 11 w 256"/>
                  <a:gd name="T5" fmla="*/ 52 h 173"/>
                  <a:gd name="T6" fmla="*/ 53 w 256"/>
                  <a:gd name="T7" fmla="*/ 133 h 173"/>
                  <a:gd name="T8" fmla="*/ 163 w 256"/>
                  <a:gd name="T9" fmla="*/ 170 h 173"/>
                  <a:gd name="T10" fmla="*/ 183 w 256"/>
                  <a:gd name="T11" fmla="*/ 173 h 173"/>
                  <a:gd name="T12" fmla="*/ 245 w 256"/>
                  <a:gd name="T13" fmla="*/ 128 h 173"/>
                  <a:gd name="T14" fmla="*/ 203 w 256"/>
                  <a:gd name="T15" fmla="*/ 47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6" h="173">
                    <a:moveTo>
                      <a:pt x="203" y="47"/>
                    </a:moveTo>
                    <a:cubicBezTo>
                      <a:pt x="92" y="11"/>
                      <a:pt x="92" y="11"/>
                      <a:pt x="92" y="11"/>
                    </a:cubicBezTo>
                    <a:cubicBezTo>
                      <a:pt x="59" y="0"/>
                      <a:pt x="22" y="18"/>
                      <a:pt x="11" y="52"/>
                    </a:cubicBezTo>
                    <a:cubicBezTo>
                      <a:pt x="0" y="86"/>
                      <a:pt x="19" y="122"/>
                      <a:pt x="53" y="133"/>
                    </a:cubicBezTo>
                    <a:cubicBezTo>
                      <a:pt x="163" y="170"/>
                      <a:pt x="163" y="170"/>
                      <a:pt x="163" y="170"/>
                    </a:cubicBezTo>
                    <a:cubicBezTo>
                      <a:pt x="170" y="172"/>
                      <a:pt x="177" y="173"/>
                      <a:pt x="183" y="173"/>
                    </a:cubicBezTo>
                    <a:cubicBezTo>
                      <a:pt x="211" y="173"/>
                      <a:pt x="236" y="155"/>
                      <a:pt x="245" y="128"/>
                    </a:cubicBezTo>
                    <a:cubicBezTo>
                      <a:pt x="256" y="94"/>
                      <a:pt x="237" y="58"/>
                      <a:pt x="203" y="4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34" name="Inhaltsplatzhalter 4">
            <a:extLst>
              <a:ext uri="{FF2B5EF4-FFF2-40B4-BE49-F238E27FC236}">
                <a16:creationId xmlns:a16="http://schemas.microsoft.com/office/drawing/2014/main" id="{48EC104A-DE6B-3DA3-ACA6-245A9271672A}"/>
              </a:ext>
            </a:extLst>
          </p:cNvPr>
          <p:cNvSpPr txBox="1">
            <a:spLocks/>
          </p:cNvSpPr>
          <p:nvPr/>
        </p:nvSpPr>
        <p:spPr>
          <a:xfrm flipH="1">
            <a:off x="941331" y="1573341"/>
            <a:ext cx="3050097" cy="73299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2">
                    <a:lumMod val="75000"/>
                  </a:schemeClr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accent2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B0E0971E-DE5F-6ED4-DCFC-B960A9600F9E}"/>
              </a:ext>
            </a:extLst>
          </p:cNvPr>
          <p:cNvGrpSpPr/>
          <p:nvPr/>
        </p:nvGrpSpPr>
        <p:grpSpPr>
          <a:xfrm>
            <a:off x="4138113" y="1730375"/>
            <a:ext cx="636681" cy="636683"/>
            <a:chOff x="8115028" y="2398031"/>
            <a:chExt cx="636681" cy="636683"/>
          </a:xfrm>
        </p:grpSpPr>
        <p:sp>
          <p:nvSpPr>
            <p:cNvPr id="36" name="Shape6_20180316_070157">
              <a:extLst>
                <a:ext uri="{FF2B5EF4-FFF2-40B4-BE49-F238E27FC236}">
                  <a16:creationId xmlns:a16="http://schemas.microsoft.com/office/drawing/2014/main" id="{C2CDE551-2E85-4459-3359-BF6E5AF0A477}"/>
                </a:ext>
              </a:extLst>
            </p:cNvPr>
            <p:cNvSpPr/>
            <p:nvPr/>
          </p:nvSpPr>
          <p:spPr>
            <a:xfrm>
              <a:off x="8115028" y="2398031"/>
              <a:ext cx="636681" cy="636683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dirty="0"/>
            </a:p>
          </p:txBody>
        </p:sp>
        <p:sp>
          <p:nvSpPr>
            <p:cNvPr id="37" name="Shape2_20180316_070220">
              <a:extLst>
                <a:ext uri="{FF2B5EF4-FFF2-40B4-BE49-F238E27FC236}">
                  <a16:creationId xmlns:a16="http://schemas.microsoft.com/office/drawing/2014/main" id="{B8621738-6B54-8FA8-7825-1F5AD90EBF87}"/>
                </a:ext>
              </a:extLst>
            </p:cNvPr>
            <p:cNvSpPr>
              <a:spLocks noChangeAspect="1" noEditPoints="1"/>
            </p:cNvSpPr>
            <p:nvPr>
              <p:custDataLst>
                <p:tags r:id="rId5"/>
              </p:custDataLst>
            </p:nvPr>
          </p:nvSpPr>
          <p:spPr bwMode="auto">
            <a:xfrm>
              <a:off x="8266742" y="2549746"/>
              <a:ext cx="333252" cy="333252"/>
            </a:xfrm>
            <a:custGeom>
              <a:avLst/>
              <a:gdLst>
                <a:gd name="T0" fmla="*/ 232 w 256"/>
                <a:gd name="T1" fmla="*/ 84 h 227"/>
                <a:gd name="T2" fmla="*/ 172 w 256"/>
                <a:gd name="T3" fmla="*/ 44 h 227"/>
                <a:gd name="T4" fmla="*/ 120 w 256"/>
                <a:gd name="T5" fmla="*/ 48 h 227"/>
                <a:gd name="T6" fmla="*/ 64 w 256"/>
                <a:gd name="T7" fmla="*/ 107 h 227"/>
                <a:gd name="T8" fmla="*/ 0 w 256"/>
                <a:gd name="T9" fmla="*/ 131 h 227"/>
                <a:gd name="T10" fmla="*/ 32 w 256"/>
                <a:gd name="T11" fmla="*/ 227 h 227"/>
                <a:gd name="T12" fmla="*/ 87 w 256"/>
                <a:gd name="T13" fmla="*/ 212 h 227"/>
                <a:gd name="T14" fmla="*/ 103 w 256"/>
                <a:gd name="T15" fmla="*/ 219 h 227"/>
                <a:gd name="T16" fmla="*/ 232 w 256"/>
                <a:gd name="T17" fmla="*/ 197 h 227"/>
                <a:gd name="T18" fmla="*/ 240 w 256"/>
                <a:gd name="T19" fmla="*/ 169 h 227"/>
                <a:gd name="T20" fmla="*/ 248 w 256"/>
                <a:gd name="T21" fmla="*/ 140 h 227"/>
                <a:gd name="T22" fmla="*/ 256 w 256"/>
                <a:gd name="T23" fmla="*/ 108 h 227"/>
                <a:gd name="T24" fmla="*/ 32 w 256"/>
                <a:gd name="T25" fmla="*/ 211 h 227"/>
                <a:gd name="T26" fmla="*/ 16 w 256"/>
                <a:gd name="T27" fmla="*/ 131 h 227"/>
                <a:gd name="T28" fmla="*/ 64 w 256"/>
                <a:gd name="T29" fmla="*/ 123 h 227"/>
                <a:gd name="T30" fmla="*/ 72 w 256"/>
                <a:gd name="T31" fmla="*/ 198 h 227"/>
                <a:gd name="T32" fmla="*/ 72 w 256"/>
                <a:gd name="T33" fmla="*/ 203 h 227"/>
                <a:gd name="T34" fmla="*/ 210 w 256"/>
                <a:gd name="T35" fmla="*/ 203 h 227"/>
                <a:gd name="T36" fmla="*/ 88 w 256"/>
                <a:gd name="T37" fmla="*/ 194 h 227"/>
                <a:gd name="T38" fmla="*/ 86 w 256"/>
                <a:gd name="T39" fmla="*/ 121 h 227"/>
                <a:gd name="T40" fmla="*/ 140 w 256"/>
                <a:gd name="T41" fmla="*/ 16 h 227"/>
                <a:gd name="T42" fmla="*/ 152 w 256"/>
                <a:gd name="T43" fmla="*/ 90 h 227"/>
                <a:gd name="T44" fmla="*/ 160 w 256"/>
                <a:gd name="T45" fmla="*/ 100 h 227"/>
                <a:gd name="T46" fmla="*/ 240 w 256"/>
                <a:gd name="T47" fmla="*/ 108 h 227"/>
                <a:gd name="T48" fmla="*/ 223 w 256"/>
                <a:gd name="T49" fmla="*/ 116 h 227"/>
                <a:gd name="T50" fmla="*/ 223 w 256"/>
                <a:gd name="T51" fmla="*/ 132 h 227"/>
                <a:gd name="T52" fmla="*/ 224 w 256"/>
                <a:gd name="T53" fmla="*/ 132 h 227"/>
                <a:gd name="T54" fmla="*/ 224 w 256"/>
                <a:gd name="T55" fmla="*/ 148 h 227"/>
                <a:gd name="T56" fmla="*/ 218 w 256"/>
                <a:gd name="T57" fmla="*/ 147 h 227"/>
                <a:gd name="T58" fmla="*/ 215 w 256"/>
                <a:gd name="T59" fmla="*/ 148 h 227"/>
                <a:gd name="T60" fmla="*/ 215 w 256"/>
                <a:gd name="T61" fmla="*/ 164 h 227"/>
                <a:gd name="T62" fmla="*/ 224 w 256"/>
                <a:gd name="T63" fmla="*/ 169 h 227"/>
                <a:gd name="T64" fmla="*/ 210 w 256"/>
                <a:gd name="T65" fmla="*/ 175 h 227"/>
                <a:gd name="T66" fmla="*/ 210 w 256"/>
                <a:gd name="T67" fmla="*/ 175 h 227"/>
                <a:gd name="T68" fmla="*/ 210 w 256"/>
                <a:gd name="T69" fmla="*/ 191 h 227"/>
                <a:gd name="T70" fmla="*/ 210 w 256"/>
                <a:gd name="T71" fmla="*/ 203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6" h="227">
                  <a:moveTo>
                    <a:pt x="256" y="108"/>
                  </a:moveTo>
                  <a:cubicBezTo>
                    <a:pt x="256" y="94"/>
                    <a:pt x="245" y="84"/>
                    <a:pt x="232" y="84"/>
                  </a:cubicBezTo>
                  <a:cubicBezTo>
                    <a:pt x="169" y="84"/>
                    <a:pt x="169" y="84"/>
                    <a:pt x="169" y="84"/>
                  </a:cubicBezTo>
                  <a:cubicBezTo>
                    <a:pt x="171" y="74"/>
                    <a:pt x="172" y="59"/>
                    <a:pt x="172" y="44"/>
                  </a:cubicBezTo>
                  <a:cubicBezTo>
                    <a:pt x="172" y="13"/>
                    <a:pt x="156" y="0"/>
                    <a:pt x="140" y="0"/>
                  </a:cubicBezTo>
                  <a:cubicBezTo>
                    <a:pt x="120" y="0"/>
                    <a:pt x="120" y="21"/>
                    <a:pt x="120" y="48"/>
                  </a:cubicBezTo>
                  <a:cubicBezTo>
                    <a:pt x="120" y="67"/>
                    <a:pt x="90" y="97"/>
                    <a:pt x="75" y="110"/>
                  </a:cubicBezTo>
                  <a:cubicBezTo>
                    <a:pt x="71" y="108"/>
                    <a:pt x="68" y="107"/>
                    <a:pt x="64" y="107"/>
                  </a:cubicBezTo>
                  <a:cubicBezTo>
                    <a:pt x="24" y="107"/>
                    <a:pt x="24" y="107"/>
                    <a:pt x="24" y="107"/>
                  </a:cubicBezTo>
                  <a:cubicBezTo>
                    <a:pt x="11" y="107"/>
                    <a:pt x="0" y="118"/>
                    <a:pt x="0" y="131"/>
                  </a:cubicBezTo>
                  <a:cubicBezTo>
                    <a:pt x="8" y="203"/>
                    <a:pt x="8" y="203"/>
                    <a:pt x="8" y="203"/>
                  </a:cubicBezTo>
                  <a:cubicBezTo>
                    <a:pt x="10" y="216"/>
                    <a:pt x="19" y="227"/>
                    <a:pt x="32" y="227"/>
                  </a:cubicBezTo>
                  <a:cubicBezTo>
                    <a:pt x="64" y="227"/>
                    <a:pt x="64" y="227"/>
                    <a:pt x="64" y="227"/>
                  </a:cubicBezTo>
                  <a:cubicBezTo>
                    <a:pt x="74" y="227"/>
                    <a:pt x="83" y="221"/>
                    <a:pt x="87" y="212"/>
                  </a:cubicBezTo>
                  <a:cubicBezTo>
                    <a:pt x="100" y="219"/>
                    <a:pt x="100" y="219"/>
                    <a:pt x="100" y="219"/>
                  </a:cubicBezTo>
                  <a:cubicBezTo>
                    <a:pt x="101" y="219"/>
                    <a:pt x="102" y="219"/>
                    <a:pt x="103" y="219"/>
                  </a:cubicBezTo>
                  <a:cubicBezTo>
                    <a:pt x="210" y="219"/>
                    <a:pt x="210" y="219"/>
                    <a:pt x="210" y="219"/>
                  </a:cubicBezTo>
                  <a:cubicBezTo>
                    <a:pt x="222" y="219"/>
                    <a:pt x="232" y="210"/>
                    <a:pt x="232" y="197"/>
                  </a:cubicBezTo>
                  <a:cubicBezTo>
                    <a:pt x="232" y="194"/>
                    <a:pt x="231" y="191"/>
                    <a:pt x="230" y="188"/>
                  </a:cubicBezTo>
                  <a:cubicBezTo>
                    <a:pt x="236" y="184"/>
                    <a:pt x="240" y="177"/>
                    <a:pt x="240" y="169"/>
                  </a:cubicBezTo>
                  <a:cubicBezTo>
                    <a:pt x="240" y="166"/>
                    <a:pt x="239" y="162"/>
                    <a:pt x="238" y="159"/>
                  </a:cubicBezTo>
                  <a:cubicBezTo>
                    <a:pt x="244" y="155"/>
                    <a:pt x="248" y="148"/>
                    <a:pt x="248" y="140"/>
                  </a:cubicBezTo>
                  <a:cubicBezTo>
                    <a:pt x="248" y="135"/>
                    <a:pt x="247" y="131"/>
                    <a:pt x="245" y="128"/>
                  </a:cubicBezTo>
                  <a:cubicBezTo>
                    <a:pt x="252" y="123"/>
                    <a:pt x="256" y="116"/>
                    <a:pt x="256" y="108"/>
                  </a:cubicBezTo>
                  <a:close/>
                  <a:moveTo>
                    <a:pt x="64" y="211"/>
                  </a:moveTo>
                  <a:cubicBezTo>
                    <a:pt x="32" y="211"/>
                    <a:pt x="32" y="211"/>
                    <a:pt x="32" y="211"/>
                  </a:cubicBezTo>
                  <a:cubicBezTo>
                    <a:pt x="28" y="211"/>
                    <a:pt x="25" y="206"/>
                    <a:pt x="24" y="202"/>
                  </a:cubicBezTo>
                  <a:cubicBezTo>
                    <a:pt x="16" y="131"/>
                    <a:pt x="16" y="131"/>
                    <a:pt x="16" y="131"/>
                  </a:cubicBezTo>
                  <a:cubicBezTo>
                    <a:pt x="17" y="127"/>
                    <a:pt x="20" y="123"/>
                    <a:pt x="24" y="123"/>
                  </a:cubicBezTo>
                  <a:cubicBezTo>
                    <a:pt x="64" y="123"/>
                    <a:pt x="64" y="123"/>
                    <a:pt x="64" y="123"/>
                  </a:cubicBezTo>
                  <a:cubicBezTo>
                    <a:pt x="69" y="123"/>
                    <a:pt x="72" y="127"/>
                    <a:pt x="72" y="131"/>
                  </a:cubicBezTo>
                  <a:cubicBezTo>
                    <a:pt x="72" y="198"/>
                    <a:pt x="72" y="198"/>
                    <a:pt x="72" y="198"/>
                  </a:cubicBezTo>
                  <a:cubicBezTo>
                    <a:pt x="72" y="199"/>
                    <a:pt x="72" y="200"/>
                    <a:pt x="72" y="201"/>
                  </a:cubicBezTo>
                  <a:cubicBezTo>
                    <a:pt x="72" y="203"/>
                    <a:pt x="72" y="203"/>
                    <a:pt x="72" y="203"/>
                  </a:cubicBezTo>
                  <a:cubicBezTo>
                    <a:pt x="72" y="208"/>
                    <a:pt x="69" y="211"/>
                    <a:pt x="64" y="211"/>
                  </a:cubicBezTo>
                  <a:close/>
                  <a:moveTo>
                    <a:pt x="210" y="203"/>
                  </a:moveTo>
                  <a:cubicBezTo>
                    <a:pt x="105" y="203"/>
                    <a:pt x="105" y="203"/>
                    <a:pt x="105" y="203"/>
                  </a:cubicBezTo>
                  <a:cubicBezTo>
                    <a:pt x="88" y="194"/>
                    <a:pt x="88" y="194"/>
                    <a:pt x="88" y="194"/>
                  </a:cubicBezTo>
                  <a:cubicBezTo>
                    <a:pt x="88" y="131"/>
                    <a:pt x="88" y="131"/>
                    <a:pt x="88" y="131"/>
                  </a:cubicBezTo>
                  <a:cubicBezTo>
                    <a:pt x="88" y="128"/>
                    <a:pt x="87" y="124"/>
                    <a:pt x="86" y="121"/>
                  </a:cubicBezTo>
                  <a:cubicBezTo>
                    <a:pt x="100" y="109"/>
                    <a:pt x="136" y="75"/>
                    <a:pt x="136" y="48"/>
                  </a:cubicBezTo>
                  <a:cubicBezTo>
                    <a:pt x="136" y="31"/>
                    <a:pt x="136" y="16"/>
                    <a:pt x="140" y="16"/>
                  </a:cubicBezTo>
                  <a:cubicBezTo>
                    <a:pt x="148" y="16"/>
                    <a:pt x="156" y="25"/>
                    <a:pt x="156" y="44"/>
                  </a:cubicBezTo>
                  <a:cubicBezTo>
                    <a:pt x="156" y="67"/>
                    <a:pt x="152" y="90"/>
                    <a:pt x="152" y="90"/>
                  </a:cubicBezTo>
                  <a:cubicBezTo>
                    <a:pt x="152" y="93"/>
                    <a:pt x="153" y="95"/>
                    <a:pt x="154" y="97"/>
                  </a:cubicBezTo>
                  <a:cubicBezTo>
                    <a:pt x="156" y="98"/>
                    <a:pt x="158" y="100"/>
                    <a:pt x="160" y="100"/>
                  </a:cubicBezTo>
                  <a:cubicBezTo>
                    <a:pt x="232" y="100"/>
                    <a:pt x="232" y="100"/>
                    <a:pt x="232" y="100"/>
                  </a:cubicBezTo>
                  <a:cubicBezTo>
                    <a:pt x="237" y="100"/>
                    <a:pt x="240" y="103"/>
                    <a:pt x="240" y="108"/>
                  </a:cubicBezTo>
                  <a:cubicBezTo>
                    <a:pt x="240" y="112"/>
                    <a:pt x="237" y="116"/>
                    <a:pt x="232" y="116"/>
                  </a:cubicBezTo>
                  <a:cubicBezTo>
                    <a:pt x="223" y="116"/>
                    <a:pt x="223" y="116"/>
                    <a:pt x="223" y="116"/>
                  </a:cubicBezTo>
                  <a:cubicBezTo>
                    <a:pt x="219" y="116"/>
                    <a:pt x="215" y="119"/>
                    <a:pt x="215" y="124"/>
                  </a:cubicBezTo>
                  <a:cubicBezTo>
                    <a:pt x="215" y="128"/>
                    <a:pt x="219" y="132"/>
                    <a:pt x="223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9" y="132"/>
                    <a:pt x="232" y="135"/>
                    <a:pt x="232" y="140"/>
                  </a:cubicBezTo>
                  <a:cubicBezTo>
                    <a:pt x="232" y="144"/>
                    <a:pt x="229" y="148"/>
                    <a:pt x="224" y="148"/>
                  </a:cubicBezTo>
                  <a:cubicBezTo>
                    <a:pt x="219" y="148"/>
                    <a:pt x="219" y="148"/>
                    <a:pt x="219" y="148"/>
                  </a:cubicBezTo>
                  <a:cubicBezTo>
                    <a:pt x="219" y="148"/>
                    <a:pt x="218" y="147"/>
                    <a:pt x="218" y="147"/>
                  </a:cubicBezTo>
                  <a:cubicBezTo>
                    <a:pt x="218" y="147"/>
                    <a:pt x="218" y="148"/>
                    <a:pt x="218" y="148"/>
                  </a:cubicBezTo>
                  <a:cubicBezTo>
                    <a:pt x="215" y="148"/>
                    <a:pt x="215" y="148"/>
                    <a:pt x="215" y="148"/>
                  </a:cubicBezTo>
                  <a:cubicBezTo>
                    <a:pt x="211" y="148"/>
                    <a:pt x="207" y="151"/>
                    <a:pt x="207" y="156"/>
                  </a:cubicBezTo>
                  <a:cubicBezTo>
                    <a:pt x="207" y="160"/>
                    <a:pt x="211" y="164"/>
                    <a:pt x="215" y="164"/>
                  </a:cubicBezTo>
                  <a:cubicBezTo>
                    <a:pt x="218" y="164"/>
                    <a:pt x="218" y="164"/>
                    <a:pt x="218" y="164"/>
                  </a:cubicBezTo>
                  <a:cubicBezTo>
                    <a:pt x="222" y="164"/>
                    <a:pt x="224" y="166"/>
                    <a:pt x="224" y="169"/>
                  </a:cubicBezTo>
                  <a:cubicBezTo>
                    <a:pt x="224" y="173"/>
                    <a:pt x="221" y="175"/>
                    <a:pt x="218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06" y="175"/>
                    <a:pt x="202" y="179"/>
                    <a:pt x="202" y="183"/>
                  </a:cubicBezTo>
                  <a:cubicBezTo>
                    <a:pt x="202" y="188"/>
                    <a:pt x="206" y="191"/>
                    <a:pt x="210" y="191"/>
                  </a:cubicBezTo>
                  <a:cubicBezTo>
                    <a:pt x="213" y="191"/>
                    <a:pt x="216" y="194"/>
                    <a:pt x="216" y="197"/>
                  </a:cubicBezTo>
                  <a:cubicBezTo>
                    <a:pt x="216" y="201"/>
                    <a:pt x="213" y="203"/>
                    <a:pt x="210" y="20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4075735F-5A94-D570-973B-EE4A501670E7}"/>
              </a:ext>
            </a:extLst>
          </p:cNvPr>
          <p:cNvGrpSpPr/>
          <p:nvPr/>
        </p:nvGrpSpPr>
        <p:grpSpPr>
          <a:xfrm>
            <a:off x="3468141" y="3341524"/>
            <a:ext cx="636681" cy="636683"/>
            <a:chOff x="8083683" y="3356038"/>
            <a:chExt cx="636681" cy="636683"/>
          </a:xfrm>
        </p:grpSpPr>
        <p:sp>
          <p:nvSpPr>
            <p:cNvPr id="39" name="Shape8_20180316_070157">
              <a:extLst>
                <a:ext uri="{FF2B5EF4-FFF2-40B4-BE49-F238E27FC236}">
                  <a16:creationId xmlns:a16="http://schemas.microsoft.com/office/drawing/2014/main" id="{DBCDB543-3D90-59CA-65CD-29C35B7AB2A9}"/>
                </a:ext>
              </a:extLst>
            </p:cNvPr>
            <p:cNvSpPr/>
            <p:nvPr/>
          </p:nvSpPr>
          <p:spPr>
            <a:xfrm>
              <a:off x="8083683" y="3356038"/>
              <a:ext cx="636681" cy="636683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dirty="0"/>
            </a:p>
          </p:txBody>
        </p:sp>
        <p:grpSp>
          <p:nvGrpSpPr>
            <p:cNvPr id="40" name="Shape0_20180316_070220">
              <a:extLst>
                <a:ext uri="{FF2B5EF4-FFF2-40B4-BE49-F238E27FC236}">
                  <a16:creationId xmlns:a16="http://schemas.microsoft.com/office/drawing/2014/main" id="{B4920A67-9B45-8D84-29C6-6E635993E95F}"/>
                </a:ext>
              </a:extLst>
            </p:cNvPr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>
            <a:xfrm>
              <a:off x="8237892" y="3507753"/>
              <a:ext cx="333252" cy="333252"/>
              <a:chOff x="5712408" y="975680"/>
              <a:chExt cx="671729" cy="639391"/>
            </a:xfrm>
            <a:solidFill>
              <a:schemeClr val="bg1"/>
            </a:solidFill>
          </p:grpSpPr>
          <p:sp>
            <p:nvSpPr>
              <p:cNvPr id="41" name="Freeform 26">
                <a:extLst>
                  <a:ext uri="{FF2B5EF4-FFF2-40B4-BE49-F238E27FC236}">
                    <a16:creationId xmlns:a16="http://schemas.microsoft.com/office/drawing/2014/main" id="{FDFA21F8-6B8C-2265-8BDF-B2107E21838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12408" y="975680"/>
                <a:ext cx="671729" cy="639391"/>
              </a:xfrm>
              <a:custGeom>
                <a:avLst/>
                <a:gdLst>
                  <a:gd name="T0" fmla="*/ 117 w 128"/>
                  <a:gd name="T1" fmla="*/ 0 h 122"/>
                  <a:gd name="T2" fmla="*/ 11 w 128"/>
                  <a:gd name="T3" fmla="*/ 0 h 122"/>
                  <a:gd name="T4" fmla="*/ 0 w 128"/>
                  <a:gd name="T5" fmla="*/ 11 h 122"/>
                  <a:gd name="T6" fmla="*/ 0 w 128"/>
                  <a:gd name="T7" fmla="*/ 93 h 122"/>
                  <a:gd name="T8" fmla="*/ 11 w 128"/>
                  <a:gd name="T9" fmla="*/ 104 h 122"/>
                  <a:gd name="T10" fmla="*/ 43 w 128"/>
                  <a:gd name="T11" fmla="*/ 104 h 122"/>
                  <a:gd name="T12" fmla="*/ 38 w 128"/>
                  <a:gd name="T13" fmla="*/ 110 h 122"/>
                  <a:gd name="T14" fmla="*/ 35 w 128"/>
                  <a:gd name="T15" fmla="*/ 113 h 122"/>
                  <a:gd name="T16" fmla="*/ 34 w 128"/>
                  <a:gd name="T17" fmla="*/ 118 h 122"/>
                  <a:gd name="T18" fmla="*/ 42 w 128"/>
                  <a:gd name="T19" fmla="*/ 122 h 122"/>
                  <a:gd name="T20" fmla="*/ 86 w 128"/>
                  <a:gd name="T21" fmla="*/ 122 h 122"/>
                  <a:gd name="T22" fmla="*/ 94 w 128"/>
                  <a:gd name="T23" fmla="*/ 118 h 122"/>
                  <a:gd name="T24" fmla="*/ 94 w 128"/>
                  <a:gd name="T25" fmla="*/ 113 h 122"/>
                  <a:gd name="T26" fmla="*/ 91 w 128"/>
                  <a:gd name="T27" fmla="*/ 110 h 122"/>
                  <a:gd name="T28" fmla="*/ 85 w 128"/>
                  <a:gd name="T29" fmla="*/ 104 h 122"/>
                  <a:gd name="T30" fmla="*/ 117 w 128"/>
                  <a:gd name="T31" fmla="*/ 104 h 122"/>
                  <a:gd name="T32" fmla="*/ 128 w 128"/>
                  <a:gd name="T33" fmla="*/ 93 h 122"/>
                  <a:gd name="T34" fmla="*/ 128 w 128"/>
                  <a:gd name="T35" fmla="*/ 11 h 122"/>
                  <a:gd name="T36" fmla="*/ 117 w 128"/>
                  <a:gd name="T37" fmla="*/ 0 h 122"/>
                  <a:gd name="T38" fmla="*/ 88 w 128"/>
                  <a:gd name="T39" fmla="*/ 113 h 122"/>
                  <a:gd name="T40" fmla="*/ 90 w 128"/>
                  <a:gd name="T41" fmla="*/ 116 h 122"/>
                  <a:gd name="T42" fmla="*/ 90 w 128"/>
                  <a:gd name="T43" fmla="*/ 116 h 122"/>
                  <a:gd name="T44" fmla="*/ 86 w 128"/>
                  <a:gd name="T45" fmla="*/ 118 h 122"/>
                  <a:gd name="T46" fmla="*/ 42 w 128"/>
                  <a:gd name="T47" fmla="*/ 118 h 122"/>
                  <a:gd name="T48" fmla="*/ 38 w 128"/>
                  <a:gd name="T49" fmla="*/ 116 h 122"/>
                  <a:gd name="T50" fmla="*/ 38 w 128"/>
                  <a:gd name="T51" fmla="*/ 116 h 122"/>
                  <a:gd name="T52" fmla="*/ 38 w 128"/>
                  <a:gd name="T53" fmla="*/ 116 h 122"/>
                  <a:gd name="T54" fmla="*/ 40 w 128"/>
                  <a:gd name="T55" fmla="*/ 113 h 122"/>
                  <a:gd name="T56" fmla="*/ 48 w 128"/>
                  <a:gd name="T57" fmla="*/ 104 h 122"/>
                  <a:gd name="T58" fmla="*/ 80 w 128"/>
                  <a:gd name="T59" fmla="*/ 104 h 122"/>
                  <a:gd name="T60" fmla="*/ 88 w 128"/>
                  <a:gd name="T61" fmla="*/ 113 h 122"/>
                  <a:gd name="T62" fmla="*/ 120 w 128"/>
                  <a:gd name="T63" fmla="*/ 93 h 122"/>
                  <a:gd name="T64" fmla="*/ 117 w 128"/>
                  <a:gd name="T65" fmla="*/ 96 h 122"/>
                  <a:gd name="T66" fmla="*/ 11 w 128"/>
                  <a:gd name="T67" fmla="*/ 96 h 122"/>
                  <a:gd name="T68" fmla="*/ 8 w 128"/>
                  <a:gd name="T69" fmla="*/ 93 h 122"/>
                  <a:gd name="T70" fmla="*/ 8 w 128"/>
                  <a:gd name="T71" fmla="*/ 11 h 122"/>
                  <a:gd name="T72" fmla="*/ 11 w 128"/>
                  <a:gd name="T73" fmla="*/ 8 h 122"/>
                  <a:gd name="T74" fmla="*/ 117 w 128"/>
                  <a:gd name="T75" fmla="*/ 8 h 122"/>
                  <a:gd name="T76" fmla="*/ 120 w 128"/>
                  <a:gd name="T77" fmla="*/ 11 h 122"/>
                  <a:gd name="T78" fmla="*/ 120 w 128"/>
                  <a:gd name="T79" fmla="*/ 93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28" h="122">
                    <a:moveTo>
                      <a:pt x="117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93"/>
                      <a:pt x="0" y="93"/>
                      <a:pt x="0" y="93"/>
                    </a:cubicBezTo>
                    <a:cubicBezTo>
                      <a:pt x="0" y="99"/>
                      <a:pt x="5" y="104"/>
                      <a:pt x="11" y="104"/>
                    </a:cubicBezTo>
                    <a:cubicBezTo>
                      <a:pt x="43" y="104"/>
                      <a:pt x="43" y="104"/>
                      <a:pt x="43" y="104"/>
                    </a:cubicBezTo>
                    <a:cubicBezTo>
                      <a:pt x="42" y="106"/>
                      <a:pt x="39" y="109"/>
                      <a:pt x="38" y="110"/>
                    </a:cubicBezTo>
                    <a:cubicBezTo>
                      <a:pt x="36" y="111"/>
                      <a:pt x="35" y="112"/>
                      <a:pt x="35" y="113"/>
                    </a:cubicBezTo>
                    <a:cubicBezTo>
                      <a:pt x="34" y="114"/>
                      <a:pt x="33" y="116"/>
                      <a:pt x="34" y="118"/>
                    </a:cubicBezTo>
                    <a:cubicBezTo>
                      <a:pt x="35" y="120"/>
                      <a:pt x="37" y="122"/>
                      <a:pt x="42" y="122"/>
                    </a:cubicBezTo>
                    <a:cubicBezTo>
                      <a:pt x="86" y="122"/>
                      <a:pt x="86" y="122"/>
                      <a:pt x="86" y="122"/>
                    </a:cubicBezTo>
                    <a:cubicBezTo>
                      <a:pt x="91" y="122"/>
                      <a:pt x="93" y="120"/>
                      <a:pt x="94" y="118"/>
                    </a:cubicBezTo>
                    <a:cubicBezTo>
                      <a:pt x="95" y="116"/>
                      <a:pt x="95" y="114"/>
                      <a:pt x="94" y="113"/>
                    </a:cubicBezTo>
                    <a:cubicBezTo>
                      <a:pt x="93" y="112"/>
                      <a:pt x="92" y="111"/>
                      <a:pt x="91" y="110"/>
                    </a:cubicBezTo>
                    <a:cubicBezTo>
                      <a:pt x="89" y="109"/>
                      <a:pt x="87" y="106"/>
                      <a:pt x="85" y="104"/>
                    </a:cubicBezTo>
                    <a:cubicBezTo>
                      <a:pt x="117" y="104"/>
                      <a:pt x="117" y="104"/>
                      <a:pt x="117" y="104"/>
                    </a:cubicBezTo>
                    <a:cubicBezTo>
                      <a:pt x="123" y="104"/>
                      <a:pt x="128" y="99"/>
                      <a:pt x="128" y="93"/>
                    </a:cubicBezTo>
                    <a:cubicBezTo>
                      <a:pt x="128" y="11"/>
                      <a:pt x="128" y="11"/>
                      <a:pt x="128" y="11"/>
                    </a:cubicBezTo>
                    <a:cubicBezTo>
                      <a:pt x="128" y="5"/>
                      <a:pt x="123" y="0"/>
                      <a:pt x="117" y="0"/>
                    </a:cubicBezTo>
                    <a:close/>
                    <a:moveTo>
                      <a:pt x="88" y="113"/>
                    </a:moveTo>
                    <a:cubicBezTo>
                      <a:pt x="89" y="114"/>
                      <a:pt x="90" y="115"/>
                      <a:pt x="90" y="116"/>
                    </a:cubicBezTo>
                    <a:cubicBezTo>
                      <a:pt x="90" y="116"/>
                      <a:pt x="91" y="116"/>
                      <a:pt x="90" y="116"/>
                    </a:cubicBezTo>
                    <a:cubicBezTo>
                      <a:pt x="90" y="117"/>
                      <a:pt x="88" y="118"/>
                      <a:pt x="86" y="118"/>
                    </a:cubicBezTo>
                    <a:cubicBezTo>
                      <a:pt x="42" y="118"/>
                      <a:pt x="42" y="118"/>
                      <a:pt x="42" y="118"/>
                    </a:cubicBezTo>
                    <a:cubicBezTo>
                      <a:pt x="40" y="118"/>
                      <a:pt x="38" y="117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5"/>
                      <a:pt x="39" y="114"/>
                      <a:pt x="40" y="113"/>
                    </a:cubicBezTo>
                    <a:cubicBezTo>
                      <a:pt x="44" y="109"/>
                      <a:pt x="47" y="106"/>
                      <a:pt x="48" y="104"/>
                    </a:cubicBezTo>
                    <a:cubicBezTo>
                      <a:pt x="80" y="104"/>
                      <a:pt x="80" y="104"/>
                      <a:pt x="80" y="104"/>
                    </a:cubicBezTo>
                    <a:cubicBezTo>
                      <a:pt x="82" y="106"/>
                      <a:pt x="84" y="109"/>
                      <a:pt x="88" y="113"/>
                    </a:cubicBezTo>
                    <a:close/>
                    <a:moveTo>
                      <a:pt x="120" y="93"/>
                    </a:moveTo>
                    <a:cubicBezTo>
                      <a:pt x="120" y="95"/>
                      <a:pt x="119" y="96"/>
                      <a:pt x="117" y="96"/>
                    </a:cubicBezTo>
                    <a:cubicBezTo>
                      <a:pt x="11" y="96"/>
                      <a:pt x="11" y="96"/>
                      <a:pt x="11" y="96"/>
                    </a:cubicBezTo>
                    <a:cubicBezTo>
                      <a:pt x="9" y="96"/>
                      <a:pt x="8" y="95"/>
                      <a:pt x="8" y="93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9"/>
                      <a:pt x="9" y="8"/>
                      <a:pt x="11" y="8"/>
                    </a:cubicBezTo>
                    <a:cubicBezTo>
                      <a:pt x="117" y="8"/>
                      <a:pt x="117" y="8"/>
                      <a:pt x="117" y="8"/>
                    </a:cubicBezTo>
                    <a:cubicBezTo>
                      <a:pt x="119" y="8"/>
                      <a:pt x="120" y="9"/>
                      <a:pt x="120" y="11"/>
                    </a:cubicBezTo>
                    <a:lnTo>
                      <a:pt x="120" y="9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dirty="0">
                  <a:solidFill>
                    <a:schemeClr val="bg1"/>
                  </a:solidFill>
                  <a:latin typeface="Lato Light"/>
                </a:endParaRPr>
              </a:p>
            </p:txBody>
          </p:sp>
          <p:sp>
            <p:nvSpPr>
              <p:cNvPr id="42" name="Freeform 27">
                <a:extLst>
                  <a:ext uri="{FF2B5EF4-FFF2-40B4-BE49-F238E27FC236}">
                    <a16:creationId xmlns:a16="http://schemas.microsoft.com/office/drawing/2014/main" id="{22044168-9D45-0B73-7DB3-60FD6923630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917" y="1058042"/>
                <a:ext cx="502713" cy="338119"/>
              </a:xfrm>
              <a:custGeom>
                <a:avLst/>
                <a:gdLst>
                  <a:gd name="T0" fmla="*/ 89 w 96"/>
                  <a:gd name="T1" fmla="*/ 0 h 64"/>
                  <a:gd name="T2" fmla="*/ 7 w 96"/>
                  <a:gd name="T3" fmla="*/ 0 h 64"/>
                  <a:gd name="T4" fmla="*/ 0 w 96"/>
                  <a:gd name="T5" fmla="*/ 7 h 64"/>
                  <a:gd name="T6" fmla="*/ 0 w 96"/>
                  <a:gd name="T7" fmla="*/ 57 h 64"/>
                  <a:gd name="T8" fmla="*/ 7 w 96"/>
                  <a:gd name="T9" fmla="*/ 64 h 64"/>
                  <a:gd name="T10" fmla="*/ 89 w 96"/>
                  <a:gd name="T11" fmla="*/ 64 h 64"/>
                  <a:gd name="T12" fmla="*/ 96 w 96"/>
                  <a:gd name="T13" fmla="*/ 57 h 64"/>
                  <a:gd name="T14" fmla="*/ 96 w 96"/>
                  <a:gd name="T15" fmla="*/ 7 h 64"/>
                  <a:gd name="T16" fmla="*/ 89 w 96"/>
                  <a:gd name="T17" fmla="*/ 0 h 64"/>
                  <a:gd name="T18" fmla="*/ 92 w 96"/>
                  <a:gd name="T19" fmla="*/ 57 h 64"/>
                  <a:gd name="T20" fmla="*/ 89 w 96"/>
                  <a:gd name="T21" fmla="*/ 60 h 64"/>
                  <a:gd name="T22" fmla="*/ 7 w 96"/>
                  <a:gd name="T23" fmla="*/ 60 h 64"/>
                  <a:gd name="T24" fmla="*/ 4 w 96"/>
                  <a:gd name="T25" fmla="*/ 57 h 64"/>
                  <a:gd name="T26" fmla="*/ 4 w 96"/>
                  <a:gd name="T27" fmla="*/ 7 h 64"/>
                  <a:gd name="T28" fmla="*/ 7 w 96"/>
                  <a:gd name="T29" fmla="*/ 4 h 64"/>
                  <a:gd name="T30" fmla="*/ 89 w 96"/>
                  <a:gd name="T31" fmla="*/ 4 h 64"/>
                  <a:gd name="T32" fmla="*/ 92 w 96"/>
                  <a:gd name="T33" fmla="*/ 7 h 64"/>
                  <a:gd name="T34" fmla="*/ 92 w 96"/>
                  <a:gd name="T35" fmla="*/ 57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6" h="64">
                    <a:moveTo>
                      <a:pt x="89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0" y="61"/>
                      <a:pt x="3" y="64"/>
                      <a:pt x="7" y="64"/>
                    </a:cubicBezTo>
                    <a:cubicBezTo>
                      <a:pt x="89" y="64"/>
                      <a:pt x="89" y="64"/>
                      <a:pt x="89" y="64"/>
                    </a:cubicBezTo>
                    <a:cubicBezTo>
                      <a:pt x="93" y="64"/>
                      <a:pt x="96" y="61"/>
                      <a:pt x="96" y="57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96" y="3"/>
                      <a:pt x="93" y="0"/>
                      <a:pt x="89" y="0"/>
                    </a:cubicBezTo>
                    <a:close/>
                    <a:moveTo>
                      <a:pt x="92" y="57"/>
                    </a:moveTo>
                    <a:cubicBezTo>
                      <a:pt x="92" y="59"/>
                      <a:pt x="91" y="60"/>
                      <a:pt x="89" y="60"/>
                    </a:cubicBezTo>
                    <a:cubicBezTo>
                      <a:pt x="7" y="60"/>
                      <a:pt x="7" y="60"/>
                      <a:pt x="7" y="60"/>
                    </a:cubicBezTo>
                    <a:cubicBezTo>
                      <a:pt x="5" y="60"/>
                      <a:pt x="4" y="59"/>
                      <a:pt x="4" y="5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5"/>
                      <a:pt x="5" y="4"/>
                      <a:pt x="7" y="4"/>
                    </a:cubicBezTo>
                    <a:cubicBezTo>
                      <a:pt x="89" y="4"/>
                      <a:pt x="89" y="4"/>
                      <a:pt x="89" y="4"/>
                    </a:cubicBezTo>
                    <a:cubicBezTo>
                      <a:pt x="91" y="4"/>
                      <a:pt x="92" y="5"/>
                      <a:pt x="92" y="7"/>
                    </a:cubicBezTo>
                    <a:lnTo>
                      <a:pt x="92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dirty="0">
                  <a:solidFill>
                    <a:schemeClr val="bg1"/>
                  </a:solidFill>
                  <a:latin typeface="Lato Light"/>
                </a:endParaRPr>
              </a:p>
            </p:txBody>
          </p:sp>
          <p:sp>
            <p:nvSpPr>
              <p:cNvPr id="43" name="Freeform 28">
                <a:extLst>
                  <a:ext uri="{FF2B5EF4-FFF2-40B4-BE49-F238E27FC236}">
                    <a16:creationId xmlns:a16="http://schemas.microsoft.com/office/drawing/2014/main" id="{9033E617-0801-BAB6-6A84-49BA94541F7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17937" y="1404831"/>
                <a:ext cx="62840" cy="65023"/>
              </a:xfrm>
              <a:custGeom>
                <a:avLst/>
                <a:gdLst>
                  <a:gd name="T0" fmla="*/ 6 w 12"/>
                  <a:gd name="T1" fmla="*/ 0 h 12"/>
                  <a:gd name="T2" fmla="*/ 0 w 12"/>
                  <a:gd name="T3" fmla="*/ 6 h 12"/>
                  <a:gd name="T4" fmla="*/ 6 w 12"/>
                  <a:gd name="T5" fmla="*/ 12 h 12"/>
                  <a:gd name="T6" fmla="*/ 12 w 12"/>
                  <a:gd name="T7" fmla="*/ 6 h 12"/>
                  <a:gd name="T8" fmla="*/ 6 w 12"/>
                  <a:gd name="T9" fmla="*/ 0 h 12"/>
                  <a:gd name="T10" fmla="*/ 6 w 12"/>
                  <a:gd name="T11" fmla="*/ 8 h 12"/>
                  <a:gd name="T12" fmla="*/ 4 w 12"/>
                  <a:gd name="T13" fmla="*/ 6 h 12"/>
                  <a:gd name="T14" fmla="*/ 6 w 12"/>
                  <a:gd name="T15" fmla="*/ 4 h 12"/>
                  <a:gd name="T16" fmla="*/ 8 w 12"/>
                  <a:gd name="T17" fmla="*/ 6 h 12"/>
                  <a:gd name="T18" fmla="*/ 6 w 12"/>
                  <a:gd name="T19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cubicBezTo>
                      <a:pt x="3" y="0"/>
                      <a:pt x="0" y="3"/>
                      <a:pt x="0" y="6"/>
                    </a:cubicBezTo>
                    <a:cubicBezTo>
                      <a:pt x="0" y="9"/>
                      <a:pt x="3" y="12"/>
                      <a:pt x="6" y="12"/>
                    </a:cubicBezTo>
                    <a:cubicBezTo>
                      <a:pt x="9" y="12"/>
                      <a:pt x="12" y="9"/>
                      <a:pt x="12" y="6"/>
                    </a:cubicBezTo>
                    <a:cubicBezTo>
                      <a:pt x="12" y="3"/>
                      <a:pt x="9" y="0"/>
                      <a:pt x="6" y="0"/>
                    </a:cubicBezTo>
                    <a:close/>
                    <a:moveTo>
                      <a:pt x="6" y="8"/>
                    </a:moveTo>
                    <a:cubicBezTo>
                      <a:pt x="5" y="8"/>
                      <a:pt x="4" y="7"/>
                      <a:pt x="4" y="6"/>
                    </a:cubicBezTo>
                    <a:cubicBezTo>
                      <a:pt x="4" y="5"/>
                      <a:pt x="5" y="4"/>
                      <a:pt x="6" y="4"/>
                    </a:cubicBezTo>
                    <a:cubicBezTo>
                      <a:pt x="7" y="4"/>
                      <a:pt x="8" y="5"/>
                      <a:pt x="8" y="6"/>
                    </a:cubicBezTo>
                    <a:cubicBezTo>
                      <a:pt x="8" y="7"/>
                      <a:pt x="7" y="8"/>
                      <a:pt x="6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dirty="0">
                  <a:solidFill>
                    <a:schemeClr val="bg1"/>
                  </a:solidFill>
                  <a:latin typeface="Lato Light"/>
                </a:endParaRPr>
              </a:p>
            </p:txBody>
          </p:sp>
          <p:sp>
            <p:nvSpPr>
              <p:cNvPr id="44" name="Freeform 29">
                <a:extLst>
                  <a:ext uri="{FF2B5EF4-FFF2-40B4-BE49-F238E27FC236}">
                    <a16:creationId xmlns:a16="http://schemas.microsoft.com/office/drawing/2014/main" id="{EAAD3C75-3B35-D9D7-F5AA-482A3C593F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33429" y="1190255"/>
                <a:ext cx="84509" cy="88864"/>
              </a:xfrm>
              <a:custGeom>
                <a:avLst/>
                <a:gdLst>
                  <a:gd name="T0" fmla="*/ 0 w 39"/>
                  <a:gd name="T1" fmla="*/ 24 h 41"/>
                  <a:gd name="T2" fmla="*/ 39 w 39"/>
                  <a:gd name="T3" fmla="*/ 41 h 41"/>
                  <a:gd name="T4" fmla="*/ 39 w 39"/>
                  <a:gd name="T5" fmla="*/ 32 h 41"/>
                  <a:gd name="T6" fmla="*/ 12 w 39"/>
                  <a:gd name="T7" fmla="*/ 19 h 41"/>
                  <a:gd name="T8" fmla="*/ 39 w 39"/>
                  <a:gd name="T9" fmla="*/ 10 h 41"/>
                  <a:gd name="T10" fmla="*/ 39 w 39"/>
                  <a:gd name="T11" fmla="*/ 0 h 41"/>
                  <a:gd name="T12" fmla="*/ 0 w 39"/>
                  <a:gd name="T13" fmla="*/ 17 h 41"/>
                  <a:gd name="T14" fmla="*/ 0 w 39"/>
                  <a:gd name="T15" fmla="*/ 24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" h="41">
                    <a:moveTo>
                      <a:pt x="0" y="24"/>
                    </a:moveTo>
                    <a:lnTo>
                      <a:pt x="39" y="41"/>
                    </a:lnTo>
                    <a:lnTo>
                      <a:pt x="39" y="32"/>
                    </a:lnTo>
                    <a:lnTo>
                      <a:pt x="12" y="19"/>
                    </a:lnTo>
                    <a:lnTo>
                      <a:pt x="39" y="10"/>
                    </a:lnTo>
                    <a:lnTo>
                      <a:pt x="39" y="0"/>
                    </a:lnTo>
                    <a:lnTo>
                      <a:pt x="0" y="17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dirty="0">
                  <a:solidFill>
                    <a:schemeClr val="bg1"/>
                  </a:solidFill>
                  <a:latin typeface="Lato Light"/>
                </a:endParaRPr>
              </a:p>
            </p:txBody>
          </p:sp>
          <p:sp>
            <p:nvSpPr>
              <p:cNvPr id="45" name="Freeform 30">
                <a:extLst>
                  <a:ext uri="{FF2B5EF4-FFF2-40B4-BE49-F238E27FC236}">
                    <a16:creationId xmlns:a16="http://schemas.microsoft.com/office/drawing/2014/main" id="{6106BE04-61B3-2779-D706-0E0884AD72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26605" y="1175084"/>
                <a:ext cx="43337" cy="119208"/>
              </a:xfrm>
              <a:custGeom>
                <a:avLst/>
                <a:gdLst>
                  <a:gd name="T0" fmla="*/ 7 w 8"/>
                  <a:gd name="T1" fmla="*/ 0 h 23"/>
                  <a:gd name="T2" fmla="*/ 5 w 8"/>
                  <a:gd name="T3" fmla="*/ 0 h 23"/>
                  <a:gd name="T4" fmla="*/ 5 w 8"/>
                  <a:gd name="T5" fmla="*/ 2 h 23"/>
                  <a:gd name="T6" fmla="*/ 0 w 8"/>
                  <a:gd name="T7" fmla="*/ 20 h 23"/>
                  <a:gd name="T8" fmla="*/ 0 w 8"/>
                  <a:gd name="T9" fmla="*/ 22 h 23"/>
                  <a:gd name="T10" fmla="*/ 2 w 8"/>
                  <a:gd name="T11" fmla="*/ 23 h 23"/>
                  <a:gd name="T12" fmla="*/ 3 w 8"/>
                  <a:gd name="T13" fmla="*/ 23 h 23"/>
                  <a:gd name="T14" fmla="*/ 3 w 8"/>
                  <a:gd name="T15" fmla="*/ 22 h 23"/>
                  <a:gd name="T16" fmla="*/ 4 w 8"/>
                  <a:gd name="T17" fmla="*/ 21 h 23"/>
                  <a:gd name="T18" fmla="*/ 8 w 8"/>
                  <a:gd name="T19" fmla="*/ 3 h 23"/>
                  <a:gd name="T20" fmla="*/ 8 w 8"/>
                  <a:gd name="T21" fmla="*/ 1 h 23"/>
                  <a:gd name="T22" fmla="*/ 8 w 8"/>
                  <a:gd name="T23" fmla="*/ 0 h 23"/>
                  <a:gd name="T24" fmla="*/ 7 w 8"/>
                  <a:gd name="T2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" h="23">
                    <a:moveTo>
                      <a:pt x="7" y="0"/>
                    </a:moveTo>
                    <a:cubicBezTo>
                      <a:pt x="6" y="0"/>
                      <a:pt x="6" y="0"/>
                      <a:pt x="5" y="0"/>
                    </a:cubicBezTo>
                    <a:cubicBezTo>
                      <a:pt x="5" y="0"/>
                      <a:pt x="5" y="1"/>
                      <a:pt x="5" y="2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0" y="22"/>
                      <a:pt x="0" y="22"/>
                    </a:cubicBezTo>
                    <a:cubicBezTo>
                      <a:pt x="0" y="23"/>
                      <a:pt x="1" y="23"/>
                      <a:pt x="2" y="23"/>
                    </a:cubicBezTo>
                    <a:cubicBezTo>
                      <a:pt x="2" y="23"/>
                      <a:pt x="2" y="23"/>
                      <a:pt x="3" y="23"/>
                    </a:cubicBezTo>
                    <a:cubicBezTo>
                      <a:pt x="3" y="23"/>
                      <a:pt x="3" y="22"/>
                      <a:pt x="3" y="22"/>
                    </a:cubicBezTo>
                    <a:cubicBezTo>
                      <a:pt x="3" y="22"/>
                      <a:pt x="3" y="21"/>
                      <a:pt x="4" y="21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2"/>
                      <a:pt x="8" y="1"/>
                      <a:pt x="8" y="1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7" y="0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dirty="0">
                  <a:solidFill>
                    <a:schemeClr val="bg1"/>
                  </a:solidFill>
                  <a:latin typeface="Lato Light"/>
                </a:endParaRPr>
              </a:p>
            </p:txBody>
          </p:sp>
          <p:sp>
            <p:nvSpPr>
              <p:cNvPr id="46" name="Freeform 31">
                <a:extLst>
                  <a:ext uri="{FF2B5EF4-FFF2-40B4-BE49-F238E27FC236}">
                    <a16:creationId xmlns:a16="http://schemas.microsoft.com/office/drawing/2014/main" id="{7DBF4240-781E-AF8F-B888-1CB8D3B772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0776" y="1190255"/>
                <a:ext cx="82341" cy="88864"/>
              </a:xfrm>
              <a:custGeom>
                <a:avLst/>
                <a:gdLst>
                  <a:gd name="T0" fmla="*/ 0 w 38"/>
                  <a:gd name="T1" fmla="*/ 10 h 41"/>
                  <a:gd name="T2" fmla="*/ 26 w 38"/>
                  <a:gd name="T3" fmla="*/ 19 h 41"/>
                  <a:gd name="T4" fmla="*/ 0 w 38"/>
                  <a:gd name="T5" fmla="*/ 32 h 41"/>
                  <a:gd name="T6" fmla="*/ 0 w 38"/>
                  <a:gd name="T7" fmla="*/ 41 h 41"/>
                  <a:gd name="T8" fmla="*/ 38 w 38"/>
                  <a:gd name="T9" fmla="*/ 24 h 41"/>
                  <a:gd name="T10" fmla="*/ 38 w 38"/>
                  <a:gd name="T11" fmla="*/ 17 h 41"/>
                  <a:gd name="T12" fmla="*/ 0 w 38"/>
                  <a:gd name="T13" fmla="*/ 0 h 41"/>
                  <a:gd name="T14" fmla="*/ 0 w 38"/>
                  <a:gd name="T15" fmla="*/ 1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8" h="41">
                    <a:moveTo>
                      <a:pt x="0" y="10"/>
                    </a:moveTo>
                    <a:lnTo>
                      <a:pt x="26" y="19"/>
                    </a:lnTo>
                    <a:lnTo>
                      <a:pt x="0" y="32"/>
                    </a:lnTo>
                    <a:lnTo>
                      <a:pt x="0" y="41"/>
                    </a:lnTo>
                    <a:lnTo>
                      <a:pt x="38" y="24"/>
                    </a:lnTo>
                    <a:lnTo>
                      <a:pt x="38" y="17"/>
                    </a:lnTo>
                    <a:lnTo>
                      <a:pt x="0" y="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dirty="0">
                  <a:solidFill>
                    <a:schemeClr val="bg1"/>
                  </a:solidFill>
                  <a:latin typeface="Lato Light"/>
                </a:endParaRPr>
              </a:p>
            </p:txBody>
          </p:sp>
        </p:grpSp>
      </p:grpSp>
      <p:sp>
        <p:nvSpPr>
          <p:cNvPr id="47" name="Inhaltsplatzhalter 4">
            <a:extLst>
              <a:ext uri="{FF2B5EF4-FFF2-40B4-BE49-F238E27FC236}">
                <a16:creationId xmlns:a16="http://schemas.microsoft.com/office/drawing/2014/main" id="{622DD281-A476-48F5-D06F-2C043EB788B2}"/>
              </a:ext>
            </a:extLst>
          </p:cNvPr>
          <p:cNvSpPr txBox="1">
            <a:spLocks/>
          </p:cNvSpPr>
          <p:nvPr/>
        </p:nvSpPr>
        <p:spPr>
          <a:xfrm flipH="1">
            <a:off x="273676" y="3315057"/>
            <a:ext cx="3050097" cy="73299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accent2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48" name="Inhaltsplatzhalter 4">
            <a:extLst>
              <a:ext uri="{FF2B5EF4-FFF2-40B4-BE49-F238E27FC236}">
                <a16:creationId xmlns:a16="http://schemas.microsoft.com/office/drawing/2014/main" id="{766DB780-9A5E-BEB2-BCDB-8AB212EE3EDB}"/>
              </a:ext>
            </a:extLst>
          </p:cNvPr>
          <p:cNvSpPr txBox="1">
            <a:spLocks/>
          </p:cNvSpPr>
          <p:nvPr/>
        </p:nvSpPr>
        <p:spPr>
          <a:xfrm flipH="1">
            <a:off x="6601903" y="876655"/>
            <a:ext cx="3050097" cy="73299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1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19D838E8-A880-110B-D92B-5D13CEFEA373}"/>
              </a:ext>
            </a:extLst>
          </p:cNvPr>
          <p:cNvGrpSpPr/>
          <p:nvPr/>
        </p:nvGrpSpPr>
        <p:grpSpPr>
          <a:xfrm>
            <a:off x="5821770" y="1004660"/>
            <a:ext cx="636681" cy="636683"/>
            <a:chOff x="8115028" y="2398031"/>
            <a:chExt cx="636681" cy="636683"/>
          </a:xfrm>
        </p:grpSpPr>
        <p:sp>
          <p:nvSpPr>
            <p:cNvPr id="50" name="Shape6_20180316_070157">
              <a:extLst>
                <a:ext uri="{FF2B5EF4-FFF2-40B4-BE49-F238E27FC236}">
                  <a16:creationId xmlns:a16="http://schemas.microsoft.com/office/drawing/2014/main" id="{56E8BE94-D523-11BE-CD53-69B2EFB282D1}"/>
                </a:ext>
              </a:extLst>
            </p:cNvPr>
            <p:cNvSpPr/>
            <p:nvPr/>
          </p:nvSpPr>
          <p:spPr>
            <a:xfrm>
              <a:off x="8115028" y="2398031"/>
              <a:ext cx="636681" cy="63668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dirty="0"/>
            </a:p>
          </p:txBody>
        </p:sp>
        <p:sp>
          <p:nvSpPr>
            <p:cNvPr id="51" name="Shape2_20180316_070220">
              <a:extLst>
                <a:ext uri="{FF2B5EF4-FFF2-40B4-BE49-F238E27FC236}">
                  <a16:creationId xmlns:a16="http://schemas.microsoft.com/office/drawing/2014/main" id="{D37BD2C8-4A82-FBE2-87F1-4C8DA1736EE4}"/>
                </a:ext>
              </a:extLst>
            </p:cNvPr>
            <p:cNvSpPr>
              <a:spLocks noChangeAspect="1" noEditPoints="1"/>
            </p:cNvSpPr>
            <p:nvPr>
              <p:custDataLst>
                <p:tags r:id="rId3"/>
              </p:custDataLst>
            </p:nvPr>
          </p:nvSpPr>
          <p:spPr bwMode="auto">
            <a:xfrm>
              <a:off x="8266742" y="2549746"/>
              <a:ext cx="333252" cy="333252"/>
            </a:xfrm>
            <a:custGeom>
              <a:avLst/>
              <a:gdLst>
                <a:gd name="T0" fmla="*/ 232 w 256"/>
                <a:gd name="T1" fmla="*/ 84 h 227"/>
                <a:gd name="T2" fmla="*/ 172 w 256"/>
                <a:gd name="T3" fmla="*/ 44 h 227"/>
                <a:gd name="T4" fmla="*/ 120 w 256"/>
                <a:gd name="T5" fmla="*/ 48 h 227"/>
                <a:gd name="T6" fmla="*/ 64 w 256"/>
                <a:gd name="T7" fmla="*/ 107 h 227"/>
                <a:gd name="T8" fmla="*/ 0 w 256"/>
                <a:gd name="T9" fmla="*/ 131 h 227"/>
                <a:gd name="T10" fmla="*/ 32 w 256"/>
                <a:gd name="T11" fmla="*/ 227 h 227"/>
                <a:gd name="T12" fmla="*/ 87 w 256"/>
                <a:gd name="T13" fmla="*/ 212 h 227"/>
                <a:gd name="T14" fmla="*/ 103 w 256"/>
                <a:gd name="T15" fmla="*/ 219 h 227"/>
                <a:gd name="T16" fmla="*/ 232 w 256"/>
                <a:gd name="T17" fmla="*/ 197 h 227"/>
                <a:gd name="T18" fmla="*/ 240 w 256"/>
                <a:gd name="T19" fmla="*/ 169 h 227"/>
                <a:gd name="T20" fmla="*/ 248 w 256"/>
                <a:gd name="T21" fmla="*/ 140 h 227"/>
                <a:gd name="T22" fmla="*/ 256 w 256"/>
                <a:gd name="T23" fmla="*/ 108 h 227"/>
                <a:gd name="T24" fmla="*/ 32 w 256"/>
                <a:gd name="T25" fmla="*/ 211 h 227"/>
                <a:gd name="T26" fmla="*/ 16 w 256"/>
                <a:gd name="T27" fmla="*/ 131 h 227"/>
                <a:gd name="T28" fmla="*/ 64 w 256"/>
                <a:gd name="T29" fmla="*/ 123 h 227"/>
                <a:gd name="T30" fmla="*/ 72 w 256"/>
                <a:gd name="T31" fmla="*/ 198 h 227"/>
                <a:gd name="T32" fmla="*/ 72 w 256"/>
                <a:gd name="T33" fmla="*/ 203 h 227"/>
                <a:gd name="T34" fmla="*/ 210 w 256"/>
                <a:gd name="T35" fmla="*/ 203 h 227"/>
                <a:gd name="T36" fmla="*/ 88 w 256"/>
                <a:gd name="T37" fmla="*/ 194 h 227"/>
                <a:gd name="T38" fmla="*/ 86 w 256"/>
                <a:gd name="T39" fmla="*/ 121 h 227"/>
                <a:gd name="T40" fmla="*/ 140 w 256"/>
                <a:gd name="T41" fmla="*/ 16 h 227"/>
                <a:gd name="T42" fmla="*/ 152 w 256"/>
                <a:gd name="T43" fmla="*/ 90 h 227"/>
                <a:gd name="T44" fmla="*/ 160 w 256"/>
                <a:gd name="T45" fmla="*/ 100 h 227"/>
                <a:gd name="T46" fmla="*/ 240 w 256"/>
                <a:gd name="T47" fmla="*/ 108 h 227"/>
                <a:gd name="T48" fmla="*/ 223 w 256"/>
                <a:gd name="T49" fmla="*/ 116 h 227"/>
                <a:gd name="T50" fmla="*/ 223 w 256"/>
                <a:gd name="T51" fmla="*/ 132 h 227"/>
                <a:gd name="T52" fmla="*/ 224 w 256"/>
                <a:gd name="T53" fmla="*/ 132 h 227"/>
                <a:gd name="T54" fmla="*/ 224 w 256"/>
                <a:gd name="T55" fmla="*/ 148 h 227"/>
                <a:gd name="T56" fmla="*/ 218 w 256"/>
                <a:gd name="T57" fmla="*/ 147 h 227"/>
                <a:gd name="T58" fmla="*/ 215 w 256"/>
                <a:gd name="T59" fmla="*/ 148 h 227"/>
                <a:gd name="T60" fmla="*/ 215 w 256"/>
                <a:gd name="T61" fmla="*/ 164 h 227"/>
                <a:gd name="T62" fmla="*/ 224 w 256"/>
                <a:gd name="T63" fmla="*/ 169 h 227"/>
                <a:gd name="T64" fmla="*/ 210 w 256"/>
                <a:gd name="T65" fmla="*/ 175 h 227"/>
                <a:gd name="T66" fmla="*/ 210 w 256"/>
                <a:gd name="T67" fmla="*/ 175 h 227"/>
                <a:gd name="T68" fmla="*/ 210 w 256"/>
                <a:gd name="T69" fmla="*/ 191 h 227"/>
                <a:gd name="T70" fmla="*/ 210 w 256"/>
                <a:gd name="T71" fmla="*/ 203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6" h="227">
                  <a:moveTo>
                    <a:pt x="256" y="108"/>
                  </a:moveTo>
                  <a:cubicBezTo>
                    <a:pt x="256" y="94"/>
                    <a:pt x="245" y="84"/>
                    <a:pt x="232" y="84"/>
                  </a:cubicBezTo>
                  <a:cubicBezTo>
                    <a:pt x="169" y="84"/>
                    <a:pt x="169" y="84"/>
                    <a:pt x="169" y="84"/>
                  </a:cubicBezTo>
                  <a:cubicBezTo>
                    <a:pt x="171" y="74"/>
                    <a:pt x="172" y="59"/>
                    <a:pt x="172" y="44"/>
                  </a:cubicBezTo>
                  <a:cubicBezTo>
                    <a:pt x="172" y="13"/>
                    <a:pt x="156" y="0"/>
                    <a:pt x="140" y="0"/>
                  </a:cubicBezTo>
                  <a:cubicBezTo>
                    <a:pt x="120" y="0"/>
                    <a:pt x="120" y="21"/>
                    <a:pt x="120" y="48"/>
                  </a:cubicBezTo>
                  <a:cubicBezTo>
                    <a:pt x="120" y="67"/>
                    <a:pt x="90" y="97"/>
                    <a:pt x="75" y="110"/>
                  </a:cubicBezTo>
                  <a:cubicBezTo>
                    <a:pt x="71" y="108"/>
                    <a:pt x="68" y="107"/>
                    <a:pt x="64" y="107"/>
                  </a:cubicBezTo>
                  <a:cubicBezTo>
                    <a:pt x="24" y="107"/>
                    <a:pt x="24" y="107"/>
                    <a:pt x="24" y="107"/>
                  </a:cubicBezTo>
                  <a:cubicBezTo>
                    <a:pt x="11" y="107"/>
                    <a:pt x="0" y="118"/>
                    <a:pt x="0" y="131"/>
                  </a:cubicBezTo>
                  <a:cubicBezTo>
                    <a:pt x="8" y="203"/>
                    <a:pt x="8" y="203"/>
                    <a:pt x="8" y="203"/>
                  </a:cubicBezTo>
                  <a:cubicBezTo>
                    <a:pt x="10" y="216"/>
                    <a:pt x="19" y="227"/>
                    <a:pt x="32" y="227"/>
                  </a:cubicBezTo>
                  <a:cubicBezTo>
                    <a:pt x="64" y="227"/>
                    <a:pt x="64" y="227"/>
                    <a:pt x="64" y="227"/>
                  </a:cubicBezTo>
                  <a:cubicBezTo>
                    <a:pt x="74" y="227"/>
                    <a:pt x="83" y="221"/>
                    <a:pt x="87" y="212"/>
                  </a:cubicBezTo>
                  <a:cubicBezTo>
                    <a:pt x="100" y="219"/>
                    <a:pt x="100" y="219"/>
                    <a:pt x="100" y="219"/>
                  </a:cubicBezTo>
                  <a:cubicBezTo>
                    <a:pt x="101" y="219"/>
                    <a:pt x="102" y="219"/>
                    <a:pt x="103" y="219"/>
                  </a:cubicBezTo>
                  <a:cubicBezTo>
                    <a:pt x="210" y="219"/>
                    <a:pt x="210" y="219"/>
                    <a:pt x="210" y="219"/>
                  </a:cubicBezTo>
                  <a:cubicBezTo>
                    <a:pt x="222" y="219"/>
                    <a:pt x="232" y="210"/>
                    <a:pt x="232" y="197"/>
                  </a:cubicBezTo>
                  <a:cubicBezTo>
                    <a:pt x="232" y="194"/>
                    <a:pt x="231" y="191"/>
                    <a:pt x="230" y="188"/>
                  </a:cubicBezTo>
                  <a:cubicBezTo>
                    <a:pt x="236" y="184"/>
                    <a:pt x="240" y="177"/>
                    <a:pt x="240" y="169"/>
                  </a:cubicBezTo>
                  <a:cubicBezTo>
                    <a:pt x="240" y="166"/>
                    <a:pt x="239" y="162"/>
                    <a:pt x="238" y="159"/>
                  </a:cubicBezTo>
                  <a:cubicBezTo>
                    <a:pt x="244" y="155"/>
                    <a:pt x="248" y="148"/>
                    <a:pt x="248" y="140"/>
                  </a:cubicBezTo>
                  <a:cubicBezTo>
                    <a:pt x="248" y="135"/>
                    <a:pt x="247" y="131"/>
                    <a:pt x="245" y="128"/>
                  </a:cubicBezTo>
                  <a:cubicBezTo>
                    <a:pt x="252" y="123"/>
                    <a:pt x="256" y="116"/>
                    <a:pt x="256" y="108"/>
                  </a:cubicBezTo>
                  <a:close/>
                  <a:moveTo>
                    <a:pt x="64" y="211"/>
                  </a:moveTo>
                  <a:cubicBezTo>
                    <a:pt x="32" y="211"/>
                    <a:pt x="32" y="211"/>
                    <a:pt x="32" y="211"/>
                  </a:cubicBezTo>
                  <a:cubicBezTo>
                    <a:pt x="28" y="211"/>
                    <a:pt x="25" y="206"/>
                    <a:pt x="24" y="202"/>
                  </a:cubicBezTo>
                  <a:cubicBezTo>
                    <a:pt x="16" y="131"/>
                    <a:pt x="16" y="131"/>
                    <a:pt x="16" y="131"/>
                  </a:cubicBezTo>
                  <a:cubicBezTo>
                    <a:pt x="17" y="127"/>
                    <a:pt x="20" y="123"/>
                    <a:pt x="24" y="123"/>
                  </a:cubicBezTo>
                  <a:cubicBezTo>
                    <a:pt x="64" y="123"/>
                    <a:pt x="64" y="123"/>
                    <a:pt x="64" y="123"/>
                  </a:cubicBezTo>
                  <a:cubicBezTo>
                    <a:pt x="69" y="123"/>
                    <a:pt x="72" y="127"/>
                    <a:pt x="72" y="131"/>
                  </a:cubicBezTo>
                  <a:cubicBezTo>
                    <a:pt x="72" y="198"/>
                    <a:pt x="72" y="198"/>
                    <a:pt x="72" y="198"/>
                  </a:cubicBezTo>
                  <a:cubicBezTo>
                    <a:pt x="72" y="199"/>
                    <a:pt x="72" y="200"/>
                    <a:pt x="72" y="201"/>
                  </a:cubicBezTo>
                  <a:cubicBezTo>
                    <a:pt x="72" y="203"/>
                    <a:pt x="72" y="203"/>
                    <a:pt x="72" y="203"/>
                  </a:cubicBezTo>
                  <a:cubicBezTo>
                    <a:pt x="72" y="208"/>
                    <a:pt x="69" y="211"/>
                    <a:pt x="64" y="211"/>
                  </a:cubicBezTo>
                  <a:close/>
                  <a:moveTo>
                    <a:pt x="210" y="203"/>
                  </a:moveTo>
                  <a:cubicBezTo>
                    <a:pt x="105" y="203"/>
                    <a:pt x="105" y="203"/>
                    <a:pt x="105" y="203"/>
                  </a:cubicBezTo>
                  <a:cubicBezTo>
                    <a:pt x="88" y="194"/>
                    <a:pt x="88" y="194"/>
                    <a:pt x="88" y="194"/>
                  </a:cubicBezTo>
                  <a:cubicBezTo>
                    <a:pt x="88" y="131"/>
                    <a:pt x="88" y="131"/>
                    <a:pt x="88" y="131"/>
                  </a:cubicBezTo>
                  <a:cubicBezTo>
                    <a:pt x="88" y="128"/>
                    <a:pt x="87" y="124"/>
                    <a:pt x="86" y="121"/>
                  </a:cubicBezTo>
                  <a:cubicBezTo>
                    <a:pt x="100" y="109"/>
                    <a:pt x="136" y="75"/>
                    <a:pt x="136" y="48"/>
                  </a:cubicBezTo>
                  <a:cubicBezTo>
                    <a:pt x="136" y="31"/>
                    <a:pt x="136" y="16"/>
                    <a:pt x="140" y="16"/>
                  </a:cubicBezTo>
                  <a:cubicBezTo>
                    <a:pt x="148" y="16"/>
                    <a:pt x="156" y="25"/>
                    <a:pt x="156" y="44"/>
                  </a:cubicBezTo>
                  <a:cubicBezTo>
                    <a:pt x="156" y="67"/>
                    <a:pt x="152" y="90"/>
                    <a:pt x="152" y="90"/>
                  </a:cubicBezTo>
                  <a:cubicBezTo>
                    <a:pt x="152" y="93"/>
                    <a:pt x="153" y="95"/>
                    <a:pt x="154" y="97"/>
                  </a:cubicBezTo>
                  <a:cubicBezTo>
                    <a:pt x="156" y="98"/>
                    <a:pt x="158" y="100"/>
                    <a:pt x="160" y="100"/>
                  </a:cubicBezTo>
                  <a:cubicBezTo>
                    <a:pt x="232" y="100"/>
                    <a:pt x="232" y="100"/>
                    <a:pt x="232" y="100"/>
                  </a:cubicBezTo>
                  <a:cubicBezTo>
                    <a:pt x="237" y="100"/>
                    <a:pt x="240" y="103"/>
                    <a:pt x="240" y="108"/>
                  </a:cubicBezTo>
                  <a:cubicBezTo>
                    <a:pt x="240" y="112"/>
                    <a:pt x="237" y="116"/>
                    <a:pt x="232" y="116"/>
                  </a:cubicBezTo>
                  <a:cubicBezTo>
                    <a:pt x="223" y="116"/>
                    <a:pt x="223" y="116"/>
                    <a:pt x="223" y="116"/>
                  </a:cubicBezTo>
                  <a:cubicBezTo>
                    <a:pt x="219" y="116"/>
                    <a:pt x="215" y="119"/>
                    <a:pt x="215" y="124"/>
                  </a:cubicBezTo>
                  <a:cubicBezTo>
                    <a:pt x="215" y="128"/>
                    <a:pt x="219" y="132"/>
                    <a:pt x="223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9" y="132"/>
                    <a:pt x="232" y="135"/>
                    <a:pt x="232" y="140"/>
                  </a:cubicBezTo>
                  <a:cubicBezTo>
                    <a:pt x="232" y="144"/>
                    <a:pt x="229" y="148"/>
                    <a:pt x="224" y="148"/>
                  </a:cubicBezTo>
                  <a:cubicBezTo>
                    <a:pt x="219" y="148"/>
                    <a:pt x="219" y="148"/>
                    <a:pt x="219" y="148"/>
                  </a:cubicBezTo>
                  <a:cubicBezTo>
                    <a:pt x="219" y="148"/>
                    <a:pt x="218" y="147"/>
                    <a:pt x="218" y="147"/>
                  </a:cubicBezTo>
                  <a:cubicBezTo>
                    <a:pt x="218" y="147"/>
                    <a:pt x="218" y="148"/>
                    <a:pt x="218" y="148"/>
                  </a:cubicBezTo>
                  <a:cubicBezTo>
                    <a:pt x="215" y="148"/>
                    <a:pt x="215" y="148"/>
                    <a:pt x="215" y="148"/>
                  </a:cubicBezTo>
                  <a:cubicBezTo>
                    <a:pt x="211" y="148"/>
                    <a:pt x="207" y="151"/>
                    <a:pt x="207" y="156"/>
                  </a:cubicBezTo>
                  <a:cubicBezTo>
                    <a:pt x="207" y="160"/>
                    <a:pt x="211" y="164"/>
                    <a:pt x="215" y="164"/>
                  </a:cubicBezTo>
                  <a:cubicBezTo>
                    <a:pt x="218" y="164"/>
                    <a:pt x="218" y="164"/>
                    <a:pt x="218" y="164"/>
                  </a:cubicBezTo>
                  <a:cubicBezTo>
                    <a:pt x="222" y="164"/>
                    <a:pt x="224" y="166"/>
                    <a:pt x="224" y="169"/>
                  </a:cubicBezTo>
                  <a:cubicBezTo>
                    <a:pt x="224" y="173"/>
                    <a:pt x="221" y="175"/>
                    <a:pt x="218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06" y="175"/>
                    <a:pt x="202" y="179"/>
                    <a:pt x="202" y="183"/>
                  </a:cubicBezTo>
                  <a:cubicBezTo>
                    <a:pt x="202" y="188"/>
                    <a:pt x="206" y="191"/>
                    <a:pt x="210" y="191"/>
                  </a:cubicBezTo>
                  <a:cubicBezTo>
                    <a:pt x="213" y="191"/>
                    <a:pt x="216" y="194"/>
                    <a:pt x="216" y="197"/>
                  </a:cubicBezTo>
                  <a:cubicBezTo>
                    <a:pt x="216" y="201"/>
                    <a:pt x="213" y="203"/>
                    <a:pt x="210" y="20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B22CE85D-EBDE-B987-BB3C-9D0BF1BFAD26}"/>
              </a:ext>
            </a:extLst>
          </p:cNvPr>
          <p:cNvGrpSpPr/>
          <p:nvPr/>
        </p:nvGrpSpPr>
        <p:grpSpPr>
          <a:xfrm>
            <a:off x="7563484" y="1861128"/>
            <a:ext cx="636681" cy="636683"/>
            <a:chOff x="5807255" y="1106259"/>
            <a:chExt cx="636681" cy="636683"/>
          </a:xfrm>
        </p:grpSpPr>
        <p:sp>
          <p:nvSpPr>
            <p:cNvPr id="53" name="Shape6_20180316_070157">
              <a:extLst>
                <a:ext uri="{FF2B5EF4-FFF2-40B4-BE49-F238E27FC236}">
                  <a16:creationId xmlns:a16="http://schemas.microsoft.com/office/drawing/2014/main" id="{752F2FC0-8E99-0312-C848-0071611AACC3}"/>
                </a:ext>
              </a:extLst>
            </p:cNvPr>
            <p:cNvSpPr/>
            <p:nvPr/>
          </p:nvSpPr>
          <p:spPr>
            <a:xfrm>
              <a:off x="5807255" y="1106259"/>
              <a:ext cx="636681" cy="63668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dirty="0"/>
            </a:p>
          </p:txBody>
        </p:sp>
        <p:grpSp>
          <p:nvGrpSpPr>
            <p:cNvPr id="54" name="Shape4_20180316_070220">
              <a:extLst>
                <a:ext uri="{FF2B5EF4-FFF2-40B4-BE49-F238E27FC236}">
                  <a16:creationId xmlns:a16="http://schemas.microsoft.com/office/drawing/2014/main" id="{71017BB6-D1DA-AF49-419F-97334585A27A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5958969" y="1274710"/>
              <a:ext cx="333252" cy="333252"/>
              <a:chOff x="-4769427" y="-314325"/>
              <a:chExt cx="4660901" cy="4576762"/>
            </a:xfrm>
            <a:solidFill>
              <a:schemeClr val="bg1"/>
            </a:solidFill>
          </p:grpSpPr>
          <p:sp>
            <p:nvSpPr>
              <p:cNvPr id="55" name="Freeform 23">
                <a:extLst>
                  <a:ext uri="{FF2B5EF4-FFF2-40B4-BE49-F238E27FC236}">
                    <a16:creationId xmlns:a16="http://schemas.microsoft.com/office/drawing/2014/main" id="{5D4E2B41-F967-FB10-6749-1B14A212EA1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4509077" y="-314325"/>
                <a:ext cx="4138613" cy="3956050"/>
              </a:xfrm>
              <a:custGeom>
                <a:avLst/>
                <a:gdLst>
                  <a:gd name="T0" fmla="*/ 2128 w 2188"/>
                  <a:gd name="T1" fmla="*/ 946 h 2085"/>
                  <a:gd name="T2" fmla="*/ 2169 w 2188"/>
                  <a:gd name="T3" fmla="*/ 781 h 2085"/>
                  <a:gd name="T4" fmla="*/ 2038 w 2188"/>
                  <a:gd name="T5" fmla="*/ 671 h 2085"/>
                  <a:gd name="T6" fmla="*/ 1503 w 2188"/>
                  <a:gd name="T7" fmla="*/ 593 h 2085"/>
                  <a:gd name="T8" fmla="*/ 1478 w 2188"/>
                  <a:gd name="T9" fmla="*/ 576 h 2085"/>
                  <a:gd name="T10" fmla="*/ 1239 w 2188"/>
                  <a:gd name="T11" fmla="*/ 90 h 2085"/>
                  <a:gd name="T12" fmla="*/ 1094 w 2188"/>
                  <a:gd name="T13" fmla="*/ 0 h 2085"/>
                  <a:gd name="T14" fmla="*/ 949 w 2188"/>
                  <a:gd name="T15" fmla="*/ 90 h 2085"/>
                  <a:gd name="T16" fmla="*/ 710 w 2188"/>
                  <a:gd name="T17" fmla="*/ 576 h 2085"/>
                  <a:gd name="T18" fmla="*/ 685 w 2188"/>
                  <a:gd name="T19" fmla="*/ 593 h 2085"/>
                  <a:gd name="T20" fmla="*/ 150 w 2188"/>
                  <a:gd name="T21" fmla="*/ 671 h 2085"/>
                  <a:gd name="T22" fmla="*/ 19 w 2188"/>
                  <a:gd name="T23" fmla="*/ 781 h 2085"/>
                  <a:gd name="T24" fmla="*/ 60 w 2188"/>
                  <a:gd name="T25" fmla="*/ 946 h 2085"/>
                  <a:gd name="T26" fmla="*/ 448 w 2188"/>
                  <a:gd name="T27" fmla="*/ 1324 h 2085"/>
                  <a:gd name="T28" fmla="*/ 457 w 2188"/>
                  <a:gd name="T29" fmla="*/ 1353 h 2085"/>
                  <a:gd name="T30" fmla="*/ 366 w 2188"/>
                  <a:gd name="T31" fmla="*/ 1886 h 2085"/>
                  <a:gd name="T32" fmla="*/ 430 w 2188"/>
                  <a:gd name="T33" fmla="*/ 2044 h 2085"/>
                  <a:gd name="T34" fmla="*/ 600 w 2188"/>
                  <a:gd name="T35" fmla="*/ 2056 h 2085"/>
                  <a:gd name="T36" fmla="*/ 1079 w 2188"/>
                  <a:gd name="T37" fmla="*/ 1805 h 2085"/>
                  <a:gd name="T38" fmla="*/ 1109 w 2188"/>
                  <a:gd name="T39" fmla="*/ 1805 h 2085"/>
                  <a:gd name="T40" fmla="*/ 1588 w 2188"/>
                  <a:gd name="T41" fmla="*/ 2056 h 2085"/>
                  <a:gd name="T42" fmla="*/ 1663 w 2188"/>
                  <a:gd name="T43" fmla="*/ 2075 h 2085"/>
                  <a:gd name="T44" fmla="*/ 1758 w 2188"/>
                  <a:gd name="T45" fmla="*/ 2044 h 2085"/>
                  <a:gd name="T46" fmla="*/ 1822 w 2188"/>
                  <a:gd name="T47" fmla="*/ 1886 h 2085"/>
                  <a:gd name="T48" fmla="*/ 1731 w 2188"/>
                  <a:gd name="T49" fmla="*/ 1353 h 2085"/>
                  <a:gd name="T50" fmla="*/ 1740 w 2188"/>
                  <a:gd name="T51" fmla="*/ 1324 h 2085"/>
                  <a:gd name="T52" fmla="*/ 2128 w 2188"/>
                  <a:gd name="T53" fmla="*/ 946 h 2085"/>
                  <a:gd name="T54" fmla="*/ 1604 w 2188"/>
                  <a:gd name="T55" fmla="*/ 1375 h 2085"/>
                  <a:gd name="T56" fmla="*/ 1695 w 2188"/>
                  <a:gd name="T57" fmla="*/ 1908 h 2085"/>
                  <a:gd name="T58" fmla="*/ 1682 w 2188"/>
                  <a:gd name="T59" fmla="*/ 1940 h 2085"/>
                  <a:gd name="T60" fmla="*/ 1648 w 2188"/>
                  <a:gd name="T61" fmla="*/ 1942 h 2085"/>
                  <a:gd name="T62" fmla="*/ 1169 w 2188"/>
                  <a:gd name="T63" fmla="*/ 1690 h 2085"/>
                  <a:gd name="T64" fmla="*/ 1094 w 2188"/>
                  <a:gd name="T65" fmla="*/ 1672 h 2085"/>
                  <a:gd name="T66" fmla="*/ 1019 w 2188"/>
                  <a:gd name="T67" fmla="*/ 1690 h 2085"/>
                  <a:gd name="T68" fmla="*/ 540 w 2188"/>
                  <a:gd name="T69" fmla="*/ 1942 h 2085"/>
                  <a:gd name="T70" fmla="*/ 506 w 2188"/>
                  <a:gd name="T71" fmla="*/ 1940 h 2085"/>
                  <a:gd name="T72" fmla="*/ 493 w 2188"/>
                  <a:gd name="T73" fmla="*/ 1908 h 2085"/>
                  <a:gd name="T74" fmla="*/ 584 w 2188"/>
                  <a:gd name="T75" fmla="*/ 1375 h 2085"/>
                  <a:gd name="T76" fmla="*/ 538 w 2188"/>
                  <a:gd name="T77" fmla="*/ 1232 h 2085"/>
                  <a:gd name="T78" fmla="*/ 150 w 2188"/>
                  <a:gd name="T79" fmla="*/ 854 h 2085"/>
                  <a:gd name="T80" fmla="*/ 142 w 2188"/>
                  <a:gd name="T81" fmla="*/ 821 h 2085"/>
                  <a:gd name="T82" fmla="*/ 168 w 2188"/>
                  <a:gd name="T83" fmla="*/ 799 h 2085"/>
                  <a:gd name="T84" fmla="*/ 704 w 2188"/>
                  <a:gd name="T85" fmla="*/ 721 h 2085"/>
                  <a:gd name="T86" fmla="*/ 826 w 2188"/>
                  <a:gd name="T87" fmla="*/ 633 h 2085"/>
                  <a:gd name="T88" fmla="*/ 1065 w 2188"/>
                  <a:gd name="T89" fmla="*/ 147 h 2085"/>
                  <a:gd name="T90" fmla="*/ 1094 w 2188"/>
                  <a:gd name="T91" fmla="*/ 129 h 2085"/>
                  <a:gd name="T92" fmla="*/ 1123 w 2188"/>
                  <a:gd name="T93" fmla="*/ 147 h 2085"/>
                  <a:gd name="T94" fmla="*/ 1123 w 2188"/>
                  <a:gd name="T95" fmla="*/ 147 h 2085"/>
                  <a:gd name="T96" fmla="*/ 1363 w 2188"/>
                  <a:gd name="T97" fmla="*/ 633 h 2085"/>
                  <a:gd name="T98" fmla="*/ 1484 w 2188"/>
                  <a:gd name="T99" fmla="*/ 721 h 2085"/>
                  <a:gd name="T100" fmla="*/ 2020 w 2188"/>
                  <a:gd name="T101" fmla="*/ 799 h 2085"/>
                  <a:gd name="T102" fmla="*/ 2046 w 2188"/>
                  <a:gd name="T103" fmla="*/ 821 h 2085"/>
                  <a:gd name="T104" fmla="*/ 2038 w 2188"/>
                  <a:gd name="T105" fmla="*/ 854 h 2085"/>
                  <a:gd name="T106" fmla="*/ 1650 w 2188"/>
                  <a:gd name="T107" fmla="*/ 1232 h 2085"/>
                  <a:gd name="T108" fmla="*/ 1604 w 2188"/>
                  <a:gd name="T109" fmla="*/ 1375 h 20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188" h="2085">
                    <a:moveTo>
                      <a:pt x="2128" y="946"/>
                    </a:moveTo>
                    <a:cubicBezTo>
                      <a:pt x="2172" y="903"/>
                      <a:pt x="2188" y="840"/>
                      <a:pt x="2169" y="781"/>
                    </a:cubicBezTo>
                    <a:cubicBezTo>
                      <a:pt x="2149" y="722"/>
                      <a:pt x="2100" y="680"/>
                      <a:pt x="2038" y="671"/>
                    </a:cubicBezTo>
                    <a:cubicBezTo>
                      <a:pt x="1503" y="593"/>
                      <a:pt x="1503" y="593"/>
                      <a:pt x="1503" y="593"/>
                    </a:cubicBezTo>
                    <a:cubicBezTo>
                      <a:pt x="1492" y="592"/>
                      <a:pt x="1483" y="585"/>
                      <a:pt x="1478" y="576"/>
                    </a:cubicBezTo>
                    <a:cubicBezTo>
                      <a:pt x="1239" y="90"/>
                      <a:pt x="1239" y="90"/>
                      <a:pt x="1239" y="90"/>
                    </a:cubicBezTo>
                    <a:cubicBezTo>
                      <a:pt x="1211" y="35"/>
                      <a:pt x="1156" y="0"/>
                      <a:pt x="1094" y="0"/>
                    </a:cubicBezTo>
                    <a:cubicBezTo>
                      <a:pt x="1032" y="0"/>
                      <a:pt x="977" y="35"/>
                      <a:pt x="949" y="90"/>
                    </a:cubicBezTo>
                    <a:cubicBezTo>
                      <a:pt x="710" y="576"/>
                      <a:pt x="710" y="576"/>
                      <a:pt x="710" y="576"/>
                    </a:cubicBezTo>
                    <a:cubicBezTo>
                      <a:pt x="705" y="585"/>
                      <a:pt x="696" y="592"/>
                      <a:pt x="685" y="593"/>
                    </a:cubicBezTo>
                    <a:cubicBezTo>
                      <a:pt x="150" y="671"/>
                      <a:pt x="150" y="671"/>
                      <a:pt x="150" y="671"/>
                    </a:cubicBezTo>
                    <a:cubicBezTo>
                      <a:pt x="88" y="680"/>
                      <a:pt x="39" y="722"/>
                      <a:pt x="19" y="781"/>
                    </a:cubicBezTo>
                    <a:cubicBezTo>
                      <a:pt x="0" y="840"/>
                      <a:pt x="16" y="903"/>
                      <a:pt x="60" y="946"/>
                    </a:cubicBezTo>
                    <a:cubicBezTo>
                      <a:pt x="448" y="1324"/>
                      <a:pt x="448" y="1324"/>
                      <a:pt x="448" y="1324"/>
                    </a:cubicBezTo>
                    <a:cubicBezTo>
                      <a:pt x="455" y="1332"/>
                      <a:pt x="459" y="1342"/>
                      <a:pt x="457" y="1353"/>
                    </a:cubicBezTo>
                    <a:cubicBezTo>
                      <a:pt x="366" y="1886"/>
                      <a:pt x="366" y="1886"/>
                      <a:pt x="366" y="1886"/>
                    </a:cubicBezTo>
                    <a:cubicBezTo>
                      <a:pt x="355" y="1947"/>
                      <a:pt x="380" y="2008"/>
                      <a:pt x="430" y="2044"/>
                    </a:cubicBezTo>
                    <a:cubicBezTo>
                      <a:pt x="480" y="2081"/>
                      <a:pt x="545" y="2085"/>
                      <a:pt x="600" y="2056"/>
                    </a:cubicBezTo>
                    <a:cubicBezTo>
                      <a:pt x="1079" y="1805"/>
                      <a:pt x="1079" y="1805"/>
                      <a:pt x="1079" y="1805"/>
                    </a:cubicBezTo>
                    <a:cubicBezTo>
                      <a:pt x="1088" y="1800"/>
                      <a:pt x="1100" y="1800"/>
                      <a:pt x="1109" y="1805"/>
                    </a:cubicBezTo>
                    <a:cubicBezTo>
                      <a:pt x="1588" y="2056"/>
                      <a:pt x="1588" y="2056"/>
                      <a:pt x="1588" y="2056"/>
                    </a:cubicBezTo>
                    <a:cubicBezTo>
                      <a:pt x="1612" y="2069"/>
                      <a:pt x="1638" y="2075"/>
                      <a:pt x="1663" y="2075"/>
                    </a:cubicBezTo>
                    <a:cubicBezTo>
                      <a:pt x="1697" y="2075"/>
                      <a:pt x="1730" y="2065"/>
                      <a:pt x="1758" y="2044"/>
                    </a:cubicBezTo>
                    <a:cubicBezTo>
                      <a:pt x="1808" y="2008"/>
                      <a:pt x="1833" y="1947"/>
                      <a:pt x="1822" y="1886"/>
                    </a:cubicBezTo>
                    <a:cubicBezTo>
                      <a:pt x="1731" y="1353"/>
                      <a:pt x="1731" y="1353"/>
                      <a:pt x="1731" y="1353"/>
                    </a:cubicBezTo>
                    <a:cubicBezTo>
                      <a:pt x="1729" y="1342"/>
                      <a:pt x="1733" y="1332"/>
                      <a:pt x="1740" y="1324"/>
                    </a:cubicBezTo>
                    <a:lnTo>
                      <a:pt x="2128" y="946"/>
                    </a:lnTo>
                    <a:close/>
                    <a:moveTo>
                      <a:pt x="1604" y="1375"/>
                    </a:moveTo>
                    <a:cubicBezTo>
                      <a:pt x="1695" y="1908"/>
                      <a:pt x="1695" y="1908"/>
                      <a:pt x="1695" y="1908"/>
                    </a:cubicBezTo>
                    <a:cubicBezTo>
                      <a:pt x="1698" y="1926"/>
                      <a:pt x="1687" y="1936"/>
                      <a:pt x="1682" y="1940"/>
                    </a:cubicBezTo>
                    <a:cubicBezTo>
                      <a:pt x="1677" y="1943"/>
                      <a:pt x="1664" y="1951"/>
                      <a:pt x="1648" y="1942"/>
                    </a:cubicBezTo>
                    <a:cubicBezTo>
                      <a:pt x="1169" y="1690"/>
                      <a:pt x="1169" y="1690"/>
                      <a:pt x="1169" y="1690"/>
                    </a:cubicBezTo>
                    <a:cubicBezTo>
                      <a:pt x="1146" y="1678"/>
                      <a:pt x="1120" y="1672"/>
                      <a:pt x="1094" y="1672"/>
                    </a:cubicBezTo>
                    <a:cubicBezTo>
                      <a:pt x="1068" y="1672"/>
                      <a:pt x="1042" y="1678"/>
                      <a:pt x="1019" y="1690"/>
                    </a:cubicBezTo>
                    <a:cubicBezTo>
                      <a:pt x="540" y="1942"/>
                      <a:pt x="540" y="1942"/>
                      <a:pt x="540" y="1942"/>
                    </a:cubicBezTo>
                    <a:cubicBezTo>
                      <a:pt x="524" y="1951"/>
                      <a:pt x="511" y="1943"/>
                      <a:pt x="506" y="1940"/>
                    </a:cubicBezTo>
                    <a:cubicBezTo>
                      <a:pt x="501" y="1936"/>
                      <a:pt x="490" y="1926"/>
                      <a:pt x="493" y="1908"/>
                    </a:cubicBezTo>
                    <a:cubicBezTo>
                      <a:pt x="584" y="1375"/>
                      <a:pt x="584" y="1375"/>
                      <a:pt x="584" y="1375"/>
                    </a:cubicBezTo>
                    <a:cubicBezTo>
                      <a:pt x="593" y="1322"/>
                      <a:pt x="576" y="1269"/>
                      <a:pt x="538" y="1232"/>
                    </a:cubicBezTo>
                    <a:cubicBezTo>
                      <a:pt x="150" y="854"/>
                      <a:pt x="150" y="854"/>
                      <a:pt x="150" y="854"/>
                    </a:cubicBezTo>
                    <a:cubicBezTo>
                      <a:pt x="137" y="841"/>
                      <a:pt x="140" y="827"/>
                      <a:pt x="142" y="821"/>
                    </a:cubicBezTo>
                    <a:cubicBezTo>
                      <a:pt x="144" y="815"/>
                      <a:pt x="150" y="801"/>
                      <a:pt x="168" y="799"/>
                    </a:cubicBezTo>
                    <a:cubicBezTo>
                      <a:pt x="704" y="721"/>
                      <a:pt x="704" y="721"/>
                      <a:pt x="704" y="721"/>
                    </a:cubicBezTo>
                    <a:cubicBezTo>
                      <a:pt x="757" y="713"/>
                      <a:pt x="802" y="680"/>
                      <a:pt x="826" y="633"/>
                    </a:cubicBezTo>
                    <a:cubicBezTo>
                      <a:pt x="1065" y="147"/>
                      <a:pt x="1065" y="147"/>
                      <a:pt x="1065" y="147"/>
                    </a:cubicBezTo>
                    <a:cubicBezTo>
                      <a:pt x="1073" y="131"/>
                      <a:pt x="1088" y="129"/>
                      <a:pt x="1094" y="129"/>
                    </a:cubicBezTo>
                    <a:cubicBezTo>
                      <a:pt x="1100" y="129"/>
                      <a:pt x="1115" y="131"/>
                      <a:pt x="1123" y="147"/>
                    </a:cubicBezTo>
                    <a:cubicBezTo>
                      <a:pt x="1123" y="147"/>
                      <a:pt x="1123" y="147"/>
                      <a:pt x="1123" y="147"/>
                    </a:cubicBezTo>
                    <a:cubicBezTo>
                      <a:pt x="1363" y="633"/>
                      <a:pt x="1363" y="633"/>
                      <a:pt x="1363" y="633"/>
                    </a:cubicBezTo>
                    <a:cubicBezTo>
                      <a:pt x="1386" y="680"/>
                      <a:pt x="1431" y="713"/>
                      <a:pt x="1484" y="721"/>
                    </a:cubicBezTo>
                    <a:cubicBezTo>
                      <a:pt x="2020" y="799"/>
                      <a:pt x="2020" y="799"/>
                      <a:pt x="2020" y="799"/>
                    </a:cubicBezTo>
                    <a:cubicBezTo>
                      <a:pt x="2038" y="801"/>
                      <a:pt x="2044" y="815"/>
                      <a:pt x="2046" y="821"/>
                    </a:cubicBezTo>
                    <a:cubicBezTo>
                      <a:pt x="2048" y="827"/>
                      <a:pt x="2051" y="841"/>
                      <a:pt x="2038" y="854"/>
                    </a:cubicBezTo>
                    <a:cubicBezTo>
                      <a:pt x="1650" y="1232"/>
                      <a:pt x="1650" y="1232"/>
                      <a:pt x="1650" y="1232"/>
                    </a:cubicBezTo>
                    <a:cubicBezTo>
                      <a:pt x="1612" y="1269"/>
                      <a:pt x="1595" y="1322"/>
                      <a:pt x="1604" y="137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4">
                <a:extLst>
                  <a:ext uri="{FF2B5EF4-FFF2-40B4-BE49-F238E27FC236}">
                    <a16:creationId xmlns:a16="http://schemas.microsoft.com/office/drawing/2014/main" id="{557F8F05-E5B7-1FA3-32E7-1746EC66BB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351539" y="-182563"/>
                <a:ext cx="406400" cy="439738"/>
              </a:xfrm>
              <a:custGeom>
                <a:avLst/>
                <a:gdLst>
                  <a:gd name="T0" fmla="*/ 179 w 215"/>
                  <a:gd name="T1" fmla="*/ 21 h 232"/>
                  <a:gd name="T2" fmla="*/ 89 w 215"/>
                  <a:gd name="T3" fmla="*/ 35 h 232"/>
                  <a:gd name="T4" fmla="*/ 21 w 215"/>
                  <a:gd name="T5" fmla="*/ 130 h 232"/>
                  <a:gd name="T6" fmla="*/ 35 w 215"/>
                  <a:gd name="T7" fmla="*/ 220 h 232"/>
                  <a:gd name="T8" fmla="*/ 73 w 215"/>
                  <a:gd name="T9" fmla="*/ 232 h 232"/>
                  <a:gd name="T10" fmla="*/ 125 w 215"/>
                  <a:gd name="T11" fmla="*/ 206 h 232"/>
                  <a:gd name="T12" fmla="*/ 194 w 215"/>
                  <a:gd name="T13" fmla="*/ 111 h 232"/>
                  <a:gd name="T14" fmla="*/ 179 w 215"/>
                  <a:gd name="T15" fmla="*/ 21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5" h="232">
                    <a:moveTo>
                      <a:pt x="179" y="21"/>
                    </a:moveTo>
                    <a:cubicBezTo>
                      <a:pt x="151" y="0"/>
                      <a:pt x="110" y="7"/>
                      <a:pt x="89" y="35"/>
                    </a:cubicBezTo>
                    <a:cubicBezTo>
                      <a:pt x="21" y="130"/>
                      <a:pt x="21" y="130"/>
                      <a:pt x="21" y="130"/>
                    </a:cubicBezTo>
                    <a:cubicBezTo>
                      <a:pt x="0" y="159"/>
                      <a:pt x="6" y="199"/>
                      <a:pt x="35" y="220"/>
                    </a:cubicBezTo>
                    <a:cubicBezTo>
                      <a:pt x="46" y="228"/>
                      <a:pt x="60" y="232"/>
                      <a:pt x="73" y="232"/>
                    </a:cubicBezTo>
                    <a:cubicBezTo>
                      <a:pt x="93" y="232"/>
                      <a:pt x="113" y="223"/>
                      <a:pt x="125" y="206"/>
                    </a:cubicBezTo>
                    <a:cubicBezTo>
                      <a:pt x="194" y="111"/>
                      <a:pt x="194" y="111"/>
                      <a:pt x="194" y="111"/>
                    </a:cubicBezTo>
                    <a:cubicBezTo>
                      <a:pt x="215" y="83"/>
                      <a:pt x="208" y="42"/>
                      <a:pt x="179" y="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5">
                <a:extLst>
                  <a:ext uri="{FF2B5EF4-FFF2-40B4-BE49-F238E27FC236}">
                    <a16:creationId xmlns:a16="http://schemas.microsoft.com/office/drawing/2014/main" id="{3DC05C64-DDC2-E934-E44F-CE0BFFC5DE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934402" y="-182563"/>
                <a:ext cx="407988" cy="439738"/>
              </a:xfrm>
              <a:custGeom>
                <a:avLst/>
                <a:gdLst>
                  <a:gd name="T0" fmla="*/ 194 w 215"/>
                  <a:gd name="T1" fmla="*/ 129 h 232"/>
                  <a:gd name="T2" fmla="*/ 126 w 215"/>
                  <a:gd name="T3" fmla="*/ 35 h 232"/>
                  <a:gd name="T4" fmla="*/ 35 w 215"/>
                  <a:gd name="T5" fmla="*/ 21 h 232"/>
                  <a:gd name="T6" fmla="*/ 21 w 215"/>
                  <a:gd name="T7" fmla="*/ 111 h 232"/>
                  <a:gd name="T8" fmla="*/ 90 w 215"/>
                  <a:gd name="T9" fmla="*/ 205 h 232"/>
                  <a:gd name="T10" fmla="*/ 142 w 215"/>
                  <a:gd name="T11" fmla="*/ 232 h 232"/>
                  <a:gd name="T12" fmla="*/ 180 w 215"/>
                  <a:gd name="T13" fmla="*/ 220 h 232"/>
                  <a:gd name="T14" fmla="*/ 194 w 215"/>
                  <a:gd name="T15" fmla="*/ 129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5" h="232">
                    <a:moveTo>
                      <a:pt x="194" y="129"/>
                    </a:moveTo>
                    <a:cubicBezTo>
                      <a:pt x="126" y="35"/>
                      <a:pt x="126" y="35"/>
                      <a:pt x="126" y="35"/>
                    </a:cubicBezTo>
                    <a:cubicBezTo>
                      <a:pt x="105" y="6"/>
                      <a:pt x="64" y="0"/>
                      <a:pt x="35" y="21"/>
                    </a:cubicBezTo>
                    <a:cubicBezTo>
                      <a:pt x="6" y="42"/>
                      <a:pt x="0" y="82"/>
                      <a:pt x="21" y="111"/>
                    </a:cubicBezTo>
                    <a:cubicBezTo>
                      <a:pt x="90" y="205"/>
                      <a:pt x="90" y="205"/>
                      <a:pt x="90" y="205"/>
                    </a:cubicBezTo>
                    <a:cubicBezTo>
                      <a:pt x="102" y="223"/>
                      <a:pt x="122" y="232"/>
                      <a:pt x="142" y="232"/>
                    </a:cubicBezTo>
                    <a:cubicBezTo>
                      <a:pt x="155" y="232"/>
                      <a:pt x="168" y="228"/>
                      <a:pt x="180" y="220"/>
                    </a:cubicBezTo>
                    <a:cubicBezTo>
                      <a:pt x="209" y="199"/>
                      <a:pt x="215" y="158"/>
                      <a:pt x="194" y="1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6">
                <a:extLst>
                  <a:ext uri="{FF2B5EF4-FFF2-40B4-BE49-F238E27FC236}">
                    <a16:creationId xmlns:a16="http://schemas.microsoft.com/office/drawing/2014/main" id="{45445BE2-CC66-994B-E58E-45A188F1F7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769427" y="2336800"/>
                <a:ext cx="484188" cy="328613"/>
              </a:xfrm>
              <a:custGeom>
                <a:avLst/>
                <a:gdLst>
                  <a:gd name="T0" fmla="*/ 245 w 256"/>
                  <a:gd name="T1" fmla="*/ 52 h 173"/>
                  <a:gd name="T2" fmla="*/ 164 w 256"/>
                  <a:gd name="T3" fmla="*/ 11 h 173"/>
                  <a:gd name="T4" fmla="*/ 53 w 256"/>
                  <a:gd name="T5" fmla="*/ 47 h 173"/>
                  <a:gd name="T6" fmla="*/ 11 w 256"/>
                  <a:gd name="T7" fmla="*/ 128 h 173"/>
                  <a:gd name="T8" fmla="*/ 73 w 256"/>
                  <a:gd name="T9" fmla="*/ 173 h 173"/>
                  <a:gd name="T10" fmla="*/ 93 w 256"/>
                  <a:gd name="T11" fmla="*/ 169 h 173"/>
                  <a:gd name="T12" fmla="*/ 203 w 256"/>
                  <a:gd name="T13" fmla="*/ 133 h 173"/>
                  <a:gd name="T14" fmla="*/ 245 w 256"/>
                  <a:gd name="T15" fmla="*/ 52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6" h="173">
                    <a:moveTo>
                      <a:pt x="245" y="52"/>
                    </a:moveTo>
                    <a:cubicBezTo>
                      <a:pt x="234" y="18"/>
                      <a:pt x="197" y="0"/>
                      <a:pt x="164" y="11"/>
                    </a:cubicBezTo>
                    <a:cubicBezTo>
                      <a:pt x="53" y="47"/>
                      <a:pt x="53" y="47"/>
                      <a:pt x="53" y="47"/>
                    </a:cubicBezTo>
                    <a:cubicBezTo>
                      <a:pt x="19" y="58"/>
                      <a:pt x="0" y="94"/>
                      <a:pt x="11" y="128"/>
                    </a:cubicBezTo>
                    <a:cubicBezTo>
                      <a:pt x="20" y="155"/>
                      <a:pt x="45" y="173"/>
                      <a:pt x="73" y="173"/>
                    </a:cubicBezTo>
                    <a:cubicBezTo>
                      <a:pt x="79" y="173"/>
                      <a:pt x="86" y="172"/>
                      <a:pt x="93" y="169"/>
                    </a:cubicBezTo>
                    <a:cubicBezTo>
                      <a:pt x="203" y="133"/>
                      <a:pt x="203" y="133"/>
                      <a:pt x="203" y="133"/>
                    </a:cubicBezTo>
                    <a:cubicBezTo>
                      <a:pt x="237" y="122"/>
                      <a:pt x="256" y="86"/>
                      <a:pt x="245" y="5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7">
                <a:extLst>
                  <a:ext uri="{FF2B5EF4-FFF2-40B4-BE49-F238E27FC236}">
                    <a16:creationId xmlns:a16="http://schemas.microsoft.com/office/drawing/2014/main" id="{DC77A6CD-BFDA-BCF3-04F2-92475906AA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562802" y="3795712"/>
                <a:ext cx="246063" cy="466725"/>
              </a:xfrm>
              <a:custGeom>
                <a:avLst/>
                <a:gdLst>
                  <a:gd name="T0" fmla="*/ 65 w 130"/>
                  <a:gd name="T1" fmla="*/ 0 h 246"/>
                  <a:gd name="T2" fmla="*/ 0 w 130"/>
                  <a:gd name="T3" fmla="*/ 65 h 246"/>
                  <a:gd name="T4" fmla="*/ 0 w 130"/>
                  <a:gd name="T5" fmla="*/ 181 h 246"/>
                  <a:gd name="T6" fmla="*/ 65 w 130"/>
                  <a:gd name="T7" fmla="*/ 246 h 246"/>
                  <a:gd name="T8" fmla="*/ 130 w 130"/>
                  <a:gd name="T9" fmla="*/ 181 h 246"/>
                  <a:gd name="T10" fmla="*/ 130 w 130"/>
                  <a:gd name="T11" fmla="*/ 65 h 246"/>
                  <a:gd name="T12" fmla="*/ 65 w 130"/>
                  <a:gd name="T13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0" h="246">
                    <a:moveTo>
                      <a:pt x="65" y="0"/>
                    </a:moveTo>
                    <a:cubicBezTo>
                      <a:pt x="29" y="0"/>
                      <a:pt x="0" y="29"/>
                      <a:pt x="0" y="65"/>
                    </a:cubicBezTo>
                    <a:cubicBezTo>
                      <a:pt x="0" y="181"/>
                      <a:pt x="0" y="181"/>
                      <a:pt x="0" y="181"/>
                    </a:cubicBezTo>
                    <a:cubicBezTo>
                      <a:pt x="0" y="217"/>
                      <a:pt x="29" y="246"/>
                      <a:pt x="65" y="246"/>
                    </a:cubicBezTo>
                    <a:cubicBezTo>
                      <a:pt x="101" y="246"/>
                      <a:pt x="130" y="217"/>
                      <a:pt x="130" y="181"/>
                    </a:cubicBezTo>
                    <a:cubicBezTo>
                      <a:pt x="130" y="65"/>
                      <a:pt x="130" y="65"/>
                      <a:pt x="130" y="65"/>
                    </a:cubicBezTo>
                    <a:cubicBezTo>
                      <a:pt x="130" y="29"/>
                      <a:pt x="101" y="0"/>
                      <a:pt x="6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8">
                <a:extLst>
                  <a:ext uri="{FF2B5EF4-FFF2-40B4-BE49-F238E27FC236}">
                    <a16:creationId xmlns:a16="http://schemas.microsoft.com/office/drawing/2014/main" id="{E7900344-11F5-7B73-B7B7-CAD59DF8CA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92714" y="2336800"/>
                <a:ext cx="484188" cy="328613"/>
              </a:xfrm>
              <a:custGeom>
                <a:avLst/>
                <a:gdLst>
                  <a:gd name="T0" fmla="*/ 203 w 256"/>
                  <a:gd name="T1" fmla="*/ 47 h 173"/>
                  <a:gd name="T2" fmla="*/ 92 w 256"/>
                  <a:gd name="T3" fmla="*/ 11 h 173"/>
                  <a:gd name="T4" fmla="*/ 11 w 256"/>
                  <a:gd name="T5" fmla="*/ 52 h 173"/>
                  <a:gd name="T6" fmla="*/ 53 w 256"/>
                  <a:gd name="T7" fmla="*/ 133 h 173"/>
                  <a:gd name="T8" fmla="*/ 163 w 256"/>
                  <a:gd name="T9" fmla="*/ 170 h 173"/>
                  <a:gd name="T10" fmla="*/ 183 w 256"/>
                  <a:gd name="T11" fmla="*/ 173 h 173"/>
                  <a:gd name="T12" fmla="*/ 245 w 256"/>
                  <a:gd name="T13" fmla="*/ 128 h 173"/>
                  <a:gd name="T14" fmla="*/ 203 w 256"/>
                  <a:gd name="T15" fmla="*/ 47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6" h="173">
                    <a:moveTo>
                      <a:pt x="203" y="47"/>
                    </a:moveTo>
                    <a:cubicBezTo>
                      <a:pt x="92" y="11"/>
                      <a:pt x="92" y="11"/>
                      <a:pt x="92" y="11"/>
                    </a:cubicBezTo>
                    <a:cubicBezTo>
                      <a:pt x="59" y="0"/>
                      <a:pt x="22" y="18"/>
                      <a:pt x="11" y="52"/>
                    </a:cubicBezTo>
                    <a:cubicBezTo>
                      <a:pt x="0" y="86"/>
                      <a:pt x="19" y="122"/>
                      <a:pt x="53" y="133"/>
                    </a:cubicBezTo>
                    <a:cubicBezTo>
                      <a:pt x="163" y="170"/>
                      <a:pt x="163" y="170"/>
                      <a:pt x="163" y="170"/>
                    </a:cubicBezTo>
                    <a:cubicBezTo>
                      <a:pt x="170" y="172"/>
                      <a:pt x="177" y="173"/>
                      <a:pt x="183" y="173"/>
                    </a:cubicBezTo>
                    <a:cubicBezTo>
                      <a:pt x="211" y="173"/>
                      <a:pt x="236" y="155"/>
                      <a:pt x="245" y="128"/>
                    </a:cubicBezTo>
                    <a:cubicBezTo>
                      <a:pt x="256" y="94"/>
                      <a:pt x="237" y="58"/>
                      <a:pt x="203" y="4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61" name="Inhaltsplatzhalter 4">
            <a:extLst>
              <a:ext uri="{FF2B5EF4-FFF2-40B4-BE49-F238E27FC236}">
                <a16:creationId xmlns:a16="http://schemas.microsoft.com/office/drawing/2014/main" id="{9492B9DD-360B-6D12-76BC-57BE35B424C5}"/>
              </a:ext>
            </a:extLst>
          </p:cNvPr>
          <p:cNvSpPr txBox="1">
            <a:spLocks/>
          </p:cNvSpPr>
          <p:nvPr/>
        </p:nvSpPr>
        <p:spPr>
          <a:xfrm flipH="1">
            <a:off x="8329103" y="1718484"/>
            <a:ext cx="3050097" cy="73299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2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accent2">
                    <a:lumMod val="75000"/>
                  </a:schemeClr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</p:spTree>
    <p:extLst>
      <p:ext uri="{BB962C8B-B14F-4D97-AF65-F5344CB8AC3E}">
        <p14:creationId xmlns:p14="http://schemas.microsoft.com/office/powerpoint/2010/main" val="27177471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4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84</TotalTime>
  <Words>212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Lato Light</vt:lpstr>
      <vt:lpstr>Wingdings</vt:lpstr>
      <vt:lpstr>Office Theme</vt:lpstr>
      <vt:lpstr>think-cell Slide</vt:lpstr>
      <vt:lpstr>8 header layou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456</cp:revision>
  <dcterms:created xsi:type="dcterms:W3CDTF">2021-03-31T02:49:57Z</dcterms:created>
  <dcterms:modified xsi:type="dcterms:W3CDTF">2025-10-15T08:27:35Z</dcterms:modified>
  <cp:category/>
</cp:coreProperties>
</file>